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4"/>
    <p:sldMasterId id="2147483691" r:id="rId5"/>
  </p:sldMasterIdLst>
  <p:notesMasterIdLst>
    <p:notesMasterId r:id="rId17"/>
  </p:notesMasterIdLst>
  <p:sldIdLst>
    <p:sldId id="256" r:id="rId6"/>
    <p:sldId id="261" r:id="rId7"/>
    <p:sldId id="279" r:id="rId8"/>
    <p:sldId id="260" r:id="rId9"/>
    <p:sldId id="282" r:id="rId10"/>
    <p:sldId id="275" r:id="rId11"/>
    <p:sldId id="280" r:id="rId12"/>
    <p:sldId id="278" r:id="rId13"/>
    <p:sldId id="277" r:id="rId14"/>
    <p:sldId id="274" r:id="rId15"/>
    <p:sldId id="273" r:id="rId16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Miguel" initials="JM" lastIdx="1" clrIdx="0">
    <p:extLst>
      <p:ext uri="{19B8F6BF-5375-455C-9EA6-DF929625EA0E}">
        <p15:presenceInfo xmlns:p15="http://schemas.microsoft.com/office/powerpoint/2012/main" userId="S::james.miguel@pncc.govt.nz::d5ebf60b-7d27-4b64-ac6d-e42fec0f157d" providerId="AD"/>
      </p:ext>
    </p:extLst>
  </p:cmAuthor>
  <p:cmAuthor id="2" name="Olivia Wix" initials="OW" lastIdx="1" clrIdx="1">
    <p:extLst>
      <p:ext uri="{19B8F6BF-5375-455C-9EA6-DF929625EA0E}">
        <p15:presenceInfo xmlns:p15="http://schemas.microsoft.com/office/powerpoint/2012/main" userId="S::olivia.wix@pncc.govt.nz::a2946e1c-9652-4327-9d42-1958f041f6e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C800"/>
    <a:srgbClr val="2D2D2D"/>
    <a:srgbClr val="001C38"/>
    <a:srgbClr val="599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7AB3F0-C9E9-4F1B-8E48-975E6CC441BF}" v="191" dt="2023-08-25T00:07:56.130"/>
    <p1510:client id="{F7DD2CED-80B6-4E84-A47C-330D6AC47518}" v="1643" dt="2023-08-24T23:08:20.1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mes Miguel" userId="S::james.miguel@pncc.govt.nz::d5ebf60b-7d27-4b64-ac6d-e42fec0f157d" providerId="AD" clId="Web-{B445D52F-7027-046A-418F-347567B49CB8}"/>
    <pc:docChg chg="modSld">
      <pc:chgData name="James Miguel" userId="S::james.miguel@pncc.govt.nz::d5ebf60b-7d27-4b64-ac6d-e42fec0f157d" providerId="AD" clId="Web-{B445D52F-7027-046A-418F-347567B49CB8}" dt="2023-07-31T23:56:02.633" v="121" actId="20577"/>
      <pc:docMkLst>
        <pc:docMk/>
      </pc:docMkLst>
      <pc:sldChg chg="modSp">
        <pc:chgData name="James Miguel" userId="S::james.miguel@pncc.govt.nz::d5ebf60b-7d27-4b64-ac6d-e42fec0f157d" providerId="AD" clId="Web-{B445D52F-7027-046A-418F-347567B49CB8}" dt="2023-07-31T23:50:34.876" v="31" actId="20577"/>
        <pc:sldMkLst>
          <pc:docMk/>
          <pc:sldMk cId="1322982649" sldId="256"/>
        </pc:sldMkLst>
        <pc:spChg chg="mod">
          <ac:chgData name="James Miguel" userId="S::james.miguel@pncc.govt.nz::d5ebf60b-7d27-4b64-ac6d-e42fec0f157d" providerId="AD" clId="Web-{B445D52F-7027-046A-418F-347567B49CB8}" dt="2023-07-31T23:48:40.841" v="16" actId="20577"/>
          <ac:spMkLst>
            <pc:docMk/>
            <pc:sldMk cId="1322982649" sldId="256"/>
            <ac:spMk id="2" creationId="{5E7D3448-2231-4FBF-BA4D-D219B65704D5}"/>
          </ac:spMkLst>
        </pc:spChg>
        <pc:spChg chg="mod">
          <ac:chgData name="James Miguel" userId="S::james.miguel@pncc.govt.nz::d5ebf60b-7d27-4b64-ac6d-e42fec0f157d" providerId="AD" clId="Web-{B445D52F-7027-046A-418F-347567B49CB8}" dt="2023-07-31T23:50:34.876" v="31" actId="20577"/>
          <ac:spMkLst>
            <pc:docMk/>
            <pc:sldMk cId="1322982649" sldId="256"/>
            <ac:spMk id="3" creationId="{9A2B8BE6-437A-46D4-A738-86B565FE8C9C}"/>
          </ac:spMkLst>
        </pc:spChg>
      </pc:sldChg>
      <pc:sldChg chg="modSp">
        <pc:chgData name="James Miguel" userId="S::james.miguel@pncc.govt.nz::d5ebf60b-7d27-4b64-ac6d-e42fec0f157d" providerId="AD" clId="Web-{B445D52F-7027-046A-418F-347567B49CB8}" dt="2023-07-31T23:56:02.633" v="121" actId="20577"/>
        <pc:sldMkLst>
          <pc:docMk/>
          <pc:sldMk cId="2895779692" sldId="261"/>
        </pc:sldMkLst>
        <pc:spChg chg="mod">
          <ac:chgData name="James Miguel" userId="S::james.miguel@pncc.govt.nz::d5ebf60b-7d27-4b64-ac6d-e42fec0f157d" providerId="AD" clId="Web-{B445D52F-7027-046A-418F-347567B49CB8}" dt="2023-07-31T23:56:02.633" v="121" actId="20577"/>
          <ac:spMkLst>
            <pc:docMk/>
            <pc:sldMk cId="2895779692" sldId="261"/>
            <ac:spMk id="2" creationId="{E600B4EC-8F1C-429A-816F-BE8093097C47}"/>
          </ac:spMkLst>
        </pc:spChg>
        <pc:spChg chg="mod">
          <ac:chgData name="James Miguel" userId="S::james.miguel@pncc.govt.nz::d5ebf60b-7d27-4b64-ac6d-e42fec0f157d" providerId="AD" clId="Web-{B445D52F-7027-046A-418F-347567B49CB8}" dt="2023-07-31T23:50:58.298" v="41" actId="20577"/>
          <ac:spMkLst>
            <pc:docMk/>
            <pc:sldMk cId="2895779692" sldId="261"/>
            <ac:spMk id="3" creationId="{58D3285B-3E59-476D-8F1E-539B72BDB196}"/>
          </ac:spMkLst>
        </pc:spChg>
      </pc:sldChg>
    </pc:docChg>
  </pc:docChgLst>
  <pc:docChgLst>
    <pc:chgData name="James Miguel" userId="d5ebf60b-7d27-4b64-ac6d-e42fec0f157d" providerId="ADAL" clId="{B6A8CBA3-11AE-4793-B909-E13643EA9168}"/>
    <pc:docChg chg="undo custSel addSld delSld modSld sldOrd">
      <pc:chgData name="James Miguel" userId="d5ebf60b-7d27-4b64-ac6d-e42fec0f157d" providerId="ADAL" clId="{B6A8CBA3-11AE-4793-B909-E13643EA9168}" dt="2023-08-09T03:48:17.342" v="2809" actId="20577"/>
      <pc:docMkLst>
        <pc:docMk/>
      </pc:docMkLst>
      <pc:sldChg chg="del">
        <pc:chgData name="James Miguel" userId="d5ebf60b-7d27-4b64-ac6d-e42fec0f157d" providerId="ADAL" clId="{B6A8CBA3-11AE-4793-B909-E13643EA9168}" dt="2023-08-09T01:06:09.881" v="0" actId="47"/>
        <pc:sldMkLst>
          <pc:docMk/>
          <pc:sldMk cId="400008302" sldId="257"/>
        </pc:sldMkLst>
      </pc:sldChg>
      <pc:sldChg chg="del">
        <pc:chgData name="James Miguel" userId="d5ebf60b-7d27-4b64-ac6d-e42fec0f157d" providerId="ADAL" clId="{B6A8CBA3-11AE-4793-B909-E13643EA9168}" dt="2023-08-09T01:16:58.083" v="73" actId="47"/>
        <pc:sldMkLst>
          <pc:docMk/>
          <pc:sldMk cId="574245440" sldId="258"/>
        </pc:sldMkLst>
      </pc:sldChg>
      <pc:sldChg chg="del">
        <pc:chgData name="James Miguel" userId="d5ebf60b-7d27-4b64-ac6d-e42fec0f157d" providerId="ADAL" clId="{B6A8CBA3-11AE-4793-B909-E13643EA9168}" dt="2023-08-09T01:16:59.244" v="74" actId="47"/>
        <pc:sldMkLst>
          <pc:docMk/>
          <pc:sldMk cId="2242853881" sldId="259"/>
        </pc:sldMkLst>
      </pc:sldChg>
      <pc:sldChg chg="modSp add del mod ord">
        <pc:chgData name="James Miguel" userId="d5ebf60b-7d27-4b64-ac6d-e42fec0f157d" providerId="ADAL" clId="{B6A8CBA3-11AE-4793-B909-E13643EA9168}" dt="2023-08-09T01:49:38.086" v="1554" actId="20577"/>
        <pc:sldMkLst>
          <pc:docMk/>
          <pc:sldMk cId="3778109950" sldId="260"/>
        </pc:sldMkLst>
        <pc:spChg chg="mod">
          <ac:chgData name="James Miguel" userId="d5ebf60b-7d27-4b64-ac6d-e42fec0f157d" providerId="ADAL" clId="{B6A8CBA3-11AE-4793-B909-E13643EA9168}" dt="2023-08-09T01:18:07.668" v="164" actId="20577"/>
          <ac:spMkLst>
            <pc:docMk/>
            <pc:sldMk cId="3778109950" sldId="260"/>
            <ac:spMk id="2" creationId="{FBC3F086-351C-4342-BE90-8D070D61C619}"/>
          </ac:spMkLst>
        </pc:spChg>
        <pc:spChg chg="mod">
          <ac:chgData name="James Miguel" userId="d5ebf60b-7d27-4b64-ac6d-e42fec0f157d" providerId="ADAL" clId="{B6A8CBA3-11AE-4793-B909-E13643EA9168}" dt="2023-08-09T01:49:38.086" v="1554" actId="20577"/>
          <ac:spMkLst>
            <pc:docMk/>
            <pc:sldMk cId="3778109950" sldId="260"/>
            <ac:spMk id="3" creationId="{CBA0A8D9-F611-4045-9505-44FC5C0E04EB}"/>
          </ac:spMkLst>
        </pc:spChg>
        <pc:spChg chg="mod">
          <ac:chgData name="James Miguel" userId="d5ebf60b-7d27-4b64-ac6d-e42fec0f157d" providerId="ADAL" clId="{B6A8CBA3-11AE-4793-B909-E13643EA9168}" dt="2023-08-09T01:30:50.285" v="1333" actId="20577"/>
          <ac:spMkLst>
            <pc:docMk/>
            <pc:sldMk cId="3778109950" sldId="260"/>
            <ac:spMk id="4" creationId="{AEF2F44A-2915-4E51-8FF0-6DA78203FD9B}"/>
          </ac:spMkLst>
        </pc:spChg>
      </pc:sldChg>
      <pc:sldChg chg="modSp mod">
        <pc:chgData name="James Miguel" userId="d5ebf60b-7d27-4b64-ac6d-e42fec0f157d" providerId="ADAL" clId="{B6A8CBA3-11AE-4793-B909-E13643EA9168}" dt="2023-08-09T03:40:06.059" v="2298" actId="20577"/>
        <pc:sldMkLst>
          <pc:docMk/>
          <pc:sldMk cId="2895779692" sldId="261"/>
        </pc:sldMkLst>
        <pc:spChg chg="mod">
          <ac:chgData name="James Miguel" userId="d5ebf60b-7d27-4b64-ac6d-e42fec0f157d" providerId="ADAL" clId="{B6A8CBA3-11AE-4793-B909-E13643EA9168}" dt="2023-08-09T03:40:06.059" v="2298" actId="20577"/>
          <ac:spMkLst>
            <pc:docMk/>
            <pc:sldMk cId="2895779692" sldId="261"/>
            <ac:spMk id="2" creationId="{E600B4EC-8F1C-429A-816F-BE8093097C47}"/>
          </ac:spMkLst>
        </pc:spChg>
      </pc:sldChg>
      <pc:sldChg chg="del">
        <pc:chgData name="James Miguel" userId="d5ebf60b-7d27-4b64-ac6d-e42fec0f157d" providerId="ADAL" clId="{B6A8CBA3-11AE-4793-B909-E13643EA9168}" dt="2023-08-09T03:36:48.373" v="2160" actId="47"/>
        <pc:sldMkLst>
          <pc:docMk/>
          <pc:sldMk cId="878448091" sldId="262"/>
        </pc:sldMkLst>
      </pc:sldChg>
      <pc:sldChg chg="del">
        <pc:chgData name="James Miguel" userId="d5ebf60b-7d27-4b64-ac6d-e42fec0f157d" providerId="ADAL" clId="{B6A8CBA3-11AE-4793-B909-E13643EA9168}" dt="2023-08-09T03:36:50.064" v="2161" actId="47"/>
        <pc:sldMkLst>
          <pc:docMk/>
          <pc:sldMk cId="3918685744" sldId="263"/>
        </pc:sldMkLst>
      </pc:sldChg>
      <pc:sldChg chg="del">
        <pc:chgData name="James Miguel" userId="d5ebf60b-7d27-4b64-ac6d-e42fec0f157d" providerId="ADAL" clId="{B6A8CBA3-11AE-4793-B909-E13643EA9168}" dt="2023-08-09T03:36:51.522" v="2162" actId="47"/>
        <pc:sldMkLst>
          <pc:docMk/>
          <pc:sldMk cId="4058195339" sldId="264"/>
        </pc:sldMkLst>
      </pc:sldChg>
      <pc:sldChg chg="del">
        <pc:chgData name="James Miguel" userId="d5ebf60b-7d27-4b64-ac6d-e42fec0f157d" providerId="ADAL" clId="{B6A8CBA3-11AE-4793-B909-E13643EA9168}" dt="2023-08-09T03:36:52.775" v="2163" actId="47"/>
        <pc:sldMkLst>
          <pc:docMk/>
          <pc:sldMk cId="2422880830" sldId="265"/>
        </pc:sldMkLst>
      </pc:sldChg>
      <pc:sldChg chg="del">
        <pc:chgData name="James Miguel" userId="d5ebf60b-7d27-4b64-ac6d-e42fec0f157d" providerId="ADAL" clId="{B6A8CBA3-11AE-4793-B909-E13643EA9168}" dt="2023-08-09T03:36:53.786" v="2164" actId="47"/>
        <pc:sldMkLst>
          <pc:docMk/>
          <pc:sldMk cId="427066610" sldId="266"/>
        </pc:sldMkLst>
      </pc:sldChg>
      <pc:sldChg chg="del">
        <pc:chgData name="James Miguel" userId="d5ebf60b-7d27-4b64-ac6d-e42fec0f157d" providerId="ADAL" clId="{B6A8CBA3-11AE-4793-B909-E13643EA9168}" dt="2023-08-09T03:36:54.924" v="2165" actId="47"/>
        <pc:sldMkLst>
          <pc:docMk/>
          <pc:sldMk cId="2124533808" sldId="267"/>
        </pc:sldMkLst>
      </pc:sldChg>
      <pc:sldChg chg="del">
        <pc:chgData name="James Miguel" userId="d5ebf60b-7d27-4b64-ac6d-e42fec0f157d" providerId="ADAL" clId="{B6A8CBA3-11AE-4793-B909-E13643EA9168}" dt="2023-08-09T03:36:56.038" v="2166" actId="47"/>
        <pc:sldMkLst>
          <pc:docMk/>
          <pc:sldMk cId="1588341964" sldId="268"/>
        </pc:sldMkLst>
      </pc:sldChg>
      <pc:sldChg chg="del">
        <pc:chgData name="James Miguel" userId="d5ebf60b-7d27-4b64-ac6d-e42fec0f157d" providerId="ADAL" clId="{B6A8CBA3-11AE-4793-B909-E13643EA9168}" dt="2023-08-09T03:36:56.856" v="2167" actId="47"/>
        <pc:sldMkLst>
          <pc:docMk/>
          <pc:sldMk cId="1212300816" sldId="269"/>
        </pc:sldMkLst>
      </pc:sldChg>
      <pc:sldChg chg="del">
        <pc:chgData name="James Miguel" userId="d5ebf60b-7d27-4b64-ac6d-e42fec0f157d" providerId="ADAL" clId="{B6A8CBA3-11AE-4793-B909-E13643EA9168}" dt="2023-08-09T03:36:57.481" v="2168" actId="47"/>
        <pc:sldMkLst>
          <pc:docMk/>
          <pc:sldMk cId="3612596172" sldId="270"/>
        </pc:sldMkLst>
      </pc:sldChg>
      <pc:sldChg chg="del">
        <pc:chgData name="James Miguel" userId="d5ebf60b-7d27-4b64-ac6d-e42fec0f157d" providerId="ADAL" clId="{B6A8CBA3-11AE-4793-B909-E13643EA9168}" dt="2023-08-09T03:36:58.362" v="2169" actId="47"/>
        <pc:sldMkLst>
          <pc:docMk/>
          <pc:sldMk cId="3547135106" sldId="271"/>
        </pc:sldMkLst>
      </pc:sldChg>
      <pc:sldChg chg="del">
        <pc:chgData name="James Miguel" userId="d5ebf60b-7d27-4b64-ac6d-e42fec0f157d" providerId="ADAL" clId="{B6A8CBA3-11AE-4793-B909-E13643EA9168}" dt="2023-08-09T03:36:59.345" v="2170" actId="47"/>
        <pc:sldMkLst>
          <pc:docMk/>
          <pc:sldMk cId="2662242510" sldId="272"/>
        </pc:sldMkLst>
      </pc:sldChg>
      <pc:sldChg chg="modSp mod">
        <pc:chgData name="James Miguel" userId="d5ebf60b-7d27-4b64-ac6d-e42fec0f157d" providerId="ADAL" clId="{B6A8CBA3-11AE-4793-B909-E13643EA9168}" dt="2023-08-09T03:39:06.411" v="2285" actId="20577"/>
        <pc:sldMkLst>
          <pc:docMk/>
          <pc:sldMk cId="2814688385" sldId="273"/>
        </pc:sldMkLst>
        <pc:spChg chg="mod">
          <ac:chgData name="James Miguel" userId="d5ebf60b-7d27-4b64-ac6d-e42fec0f157d" providerId="ADAL" clId="{B6A8CBA3-11AE-4793-B909-E13643EA9168}" dt="2023-08-09T03:39:06.411" v="2285" actId="20577"/>
          <ac:spMkLst>
            <pc:docMk/>
            <pc:sldMk cId="2814688385" sldId="273"/>
            <ac:spMk id="3" creationId="{5B8A1DFB-2CEE-468C-B1B2-BE77365CE2A3}"/>
          </ac:spMkLst>
        </pc:spChg>
      </pc:sldChg>
      <pc:sldChg chg="add del">
        <pc:chgData name="James Miguel" userId="d5ebf60b-7d27-4b64-ac6d-e42fec0f157d" providerId="ADAL" clId="{B6A8CBA3-11AE-4793-B909-E13643EA9168}" dt="2023-08-09T01:15:39.083" v="70" actId="47"/>
        <pc:sldMkLst>
          <pc:docMk/>
          <pc:sldMk cId="1238626136" sldId="274"/>
        </pc:sldMkLst>
      </pc:sldChg>
      <pc:sldChg chg="modSp new mod ord">
        <pc:chgData name="James Miguel" userId="d5ebf60b-7d27-4b64-ac6d-e42fec0f157d" providerId="ADAL" clId="{B6A8CBA3-11AE-4793-B909-E13643EA9168}" dt="2023-08-09T01:17:46.924" v="133"/>
        <pc:sldMkLst>
          <pc:docMk/>
          <pc:sldMk cId="1637867655" sldId="274"/>
        </pc:sldMkLst>
        <pc:spChg chg="mod">
          <ac:chgData name="James Miguel" userId="d5ebf60b-7d27-4b64-ac6d-e42fec0f157d" providerId="ADAL" clId="{B6A8CBA3-11AE-4793-B909-E13643EA9168}" dt="2023-08-09T01:17:31.341" v="105" actId="20577"/>
          <ac:spMkLst>
            <pc:docMk/>
            <pc:sldMk cId="1637867655" sldId="274"/>
            <ac:spMk id="2" creationId="{1FB11FCA-EC4D-40E7-9950-89C48322866A}"/>
          </ac:spMkLst>
        </pc:spChg>
        <pc:spChg chg="mod">
          <ac:chgData name="James Miguel" userId="d5ebf60b-7d27-4b64-ac6d-e42fec0f157d" providerId="ADAL" clId="{B6A8CBA3-11AE-4793-B909-E13643EA9168}" dt="2023-08-09T01:17:36.340" v="117" actId="20577"/>
          <ac:spMkLst>
            <pc:docMk/>
            <pc:sldMk cId="1637867655" sldId="274"/>
            <ac:spMk id="3" creationId="{6ABE5BFC-9C6D-4A48-A099-BB65A33D7E6A}"/>
          </ac:spMkLst>
        </pc:spChg>
        <pc:spChg chg="mod">
          <ac:chgData name="James Miguel" userId="d5ebf60b-7d27-4b64-ac6d-e42fec0f157d" providerId="ADAL" clId="{B6A8CBA3-11AE-4793-B909-E13643EA9168}" dt="2023-08-09T01:17:41.258" v="131" actId="20577"/>
          <ac:spMkLst>
            <pc:docMk/>
            <pc:sldMk cId="1637867655" sldId="274"/>
            <ac:spMk id="5" creationId="{8B64365A-A007-42B1-862B-557449268C70}"/>
          </ac:spMkLst>
        </pc:spChg>
      </pc:sldChg>
      <pc:sldChg chg="modSp new mod">
        <pc:chgData name="James Miguel" userId="d5ebf60b-7d27-4b64-ac6d-e42fec0f157d" providerId="ADAL" clId="{B6A8CBA3-11AE-4793-B909-E13643EA9168}" dt="2023-08-09T03:48:17.342" v="2809" actId="20577"/>
        <pc:sldMkLst>
          <pc:docMk/>
          <pc:sldMk cId="2728086529" sldId="275"/>
        </pc:sldMkLst>
        <pc:spChg chg="mod">
          <ac:chgData name="James Miguel" userId="d5ebf60b-7d27-4b64-ac6d-e42fec0f157d" providerId="ADAL" clId="{B6A8CBA3-11AE-4793-B909-E13643EA9168}" dt="2023-08-09T03:46:40.933" v="2801" actId="20577"/>
          <ac:spMkLst>
            <pc:docMk/>
            <pc:sldMk cId="2728086529" sldId="275"/>
            <ac:spMk id="2" creationId="{6431B042-8F47-48B3-876F-793D928AA840}"/>
          </ac:spMkLst>
        </pc:spChg>
        <pc:spChg chg="mod">
          <ac:chgData name="James Miguel" userId="d5ebf60b-7d27-4b64-ac6d-e42fec0f157d" providerId="ADAL" clId="{B6A8CBA3-11AE-4793-B909-E13643EA9168}" dt="2023-08-09T03:48:17.342" v="2809" actId="20577"/>
          <ac:spMkLst>
            <pc:docMk/>
            <pc:sldMk cId="2728086529" sldId="275"/>
            <ac:spMk id="4" creationId="{4D9200DE-8843-44E3-AC5E-58A8AD51672D}"/>
          </ac:spMkLst>
        </pc:spChg>
      </pc:sldChg>
      <pc:sldChg chg="modSp new del mod">
        <pc:chgData name="James Miguel" userId="d5ebf60b-7d27-4b64-ac6d-e42fec0f157d" providerId="ADAL" clId="{B6A8CBA3-11AE-4793-B909-E13643EA9168}" dt="2023-08-09T03:36:06.337" v="2157" actId="47"/>
        <pc:sldMkLst>
          <pc:docMk/>
          <pc:sldMk cId="852998592" sldId="276"/>
        </pc:sldMkLst>
        <pc:spChg chg="mod">
          <ac:chgData name="James Miguel" userId="d5ebf60b-7d27-4b64-ac6d-e42fec0f157d" providerId="ADAL" clId="{B6A8CBA3-11AE-4793-B909-E13643EA9168}" dt="2023-08-09T01:25:37.256" v="692" actId="20577"/>
          <ac:spMkLst>
            <pc:docMk/>
            <pc:sldMk cId="852998592" sldId="276"/>
            <ac:spMk id="2" creationId="{0B9CBEF3-3135-44A8-999B-ECCD19E0071D}"/>
          </ac:spMkLst>
        </pc:spChg>
        <pc:spChg chg="mod">
          <ac:chgData name="James Miguel" userId="d5ebf60b-7d27-4b64-ac6d-e42fec0f157d" providerId="ADAL" clId="{B6A8CBA3-11AE-4793-B909-E13643EA9168}" dt="2023-08-09T02:47:05.427" v="2141" actId="21"/>
          <ac:spMkLst>
            <pc:docMk/>
            <pc:sldMk cId="852998592" sldId="276"/>
            <ac:spMk id="4" creationId="{4F59C8DF-3A4C-4FF1-96D9-4AAE489EA472}"/>
          </ac:spMkLst>
        </pc:spChg>
      </pc:sldChg>
      <pc:sldChg chg="modSp new mod">
        <pc:chgData name="James Miguel" userId="d5ebf60b-7d27-4b64-ac6d-e42fec0f157d" providerId="ADAL" clId="{B6A8CBA3-11AE-4793-B909-E13643EA9168}" dt="2023-08-09T03:39:35.595" v="2287" actId="20577"/>
        <pc:sldMkLst>
          <pc:docMk/>
          <pc:sldMk cId="4009353018" sldId="277"/>
        </pc:sldMkLst>
        <pc:spChg chg="mod">
          <ac:chgData name="James Miguel" userId="d5ebf60b-7d27-4b64-ac6d-e42fec0f157d" providerId="ADAL" clId="{B6A8CBA3-11AE-4793-B909-E13643EA9168}" dt="2023-08-09T01:25:46.894" v="708" actId="20577"/>
          <ac:spMkLst>
            <pc:docMk/>
            <pc:sldMk cId="4009353018" sldId="277"/>
            <ac:spMk id="2" creationId="{53BF28FF-FA8C-41AA-8B89-5187AEE7B96E}"/>
          </ac:spMkLst>
        </pc:spChg>
        <pc:spChg chg="mod">
          <ac:chgData name="James Miguel" userId="d5ebf60b-7d27-4b64-ac6d-e42fec0f157d" providerId="ADAL" clId="{B6A8CBA3-11AE-4793-B909-E13643EA9168}" dt="2023-08-09T01:25:55.684" v="719" actId="113"/>
          <ac:spMkLst>
            <pc:docMk/>
            <pc:sldMk cId="4009353018" sldId="277"/>
            <ac:spMk id="3" creationId="{7381C854-B442-422B-B61B-0F9296720F72}"/>
          </ac:spMkLst>
        </pc:spChg>
        <pc:spChg chg="mod">
          <ac:chgData name="James Miguel" userId="d5ebf60b-7d27-4b64-ac6d-e42fec0f157d" providerId="ADAL" clId="{B6A8CBA3-11AE-4793-B909-E13643EA9168}" dt="2023-08-09T03:39:35.595" v="2287" actId="20577"/>
          <ac:spMkLst>
            <pc:docMk/>
            <pc:sldMk cId="4009353018" sldId="277"/>
            <ac:spMk id="4" creationId="{00B96213-BCAB-4138-A3AF-F3C942D21F43}"/>
          </ac:spMkLst>
        </pc:spChg>
      </pc:sldChg>
      <pc:sldChg chg="modSp new mod">
        <pc:chgData name="James Miguel" userId="d5ebf60b-7d27-4b64-ac6d-e42fec0f157d" providerId="ADAL" clId="{B6A8CBA3-11AE-4793-B909-E13643EA9168}" dt="2023-08-09T02:01:24.301" v="2041" actId="20577"/>
        <pc:sldMkLst>
          <pc:docMk/>
          <pc:sldMk cId="4282790831" sldId="278"/>
        </pc:sldMkLst>
        <pc:spChg chg="mod">
          <ac:chgData name="James Miguel" userId="d5ebf60b-7d27-4b64-ac6d-e42fec0f157d" providerId="ADAL" clId="{B6A8CBA3-11AE-4793-B909-E13643EA9168}" dt="2023-08-09T01:48:42.715" v="1449" actId="20577"/>
          <ac:spMkLst>
            <pc:docMk/>
            <pc:sldMk cId="4282790831" sldId="278"/>
            <ac:spMk id="2" creationId="{E128A6D6-DBDA-4BFF-ADB2-42CEA87F7983}"/>
          </ac:spMkLst>
        </pc:spChg>
        <pc:spChg chg="mod">
          <ac:chgData name="James Miguel" userId="d5ebf60b-7d27-4b64-ac6d-e42fec0f157d" providerId="ADAL" clId="{B6A8CBA3-11AE-4793-B909-E13643EA9168}" dt="2023-08-09T01:48:49.028" v="1465" actId="20577"/>
          <ac:spMkLst>
            <pc:docMk/>
            <pc:sldMk cId="4282790831" sldId="278"/>
            <ac:spMk id="3" creationId="{9F26ABCA-29D0-4AFA-9DD0-DB97D628BB16}"/>
          </ac:spMkLst>
        </pc:spChg>
        <pc:spChg chg="mod">
          <ac:chgData name="James Miguel" userId="d5ebf60b-7d27-4b64-ac6d-e42fec0f157d" providerId="ADAL" clId="{B6A8CBA3-11AE-4793-B909-E13643EA9168}" dt="2023-08-09T02:01:24.301" v="2041" actId="20577"/>
          <ac:spMkLst>
            <pc:docMk/>
            <pc:sldMk cId="4282790831" sldId="278"/>
            <ac:spMk id="4" creationId="{F6A8D924-FE2E-41E6-AD8E-57A801A4BD0C}"/>
          </ac:spMkLst>
        </pc:spChg>
      </pc:sldChg>
      <pc:sldChg chg="modSp new mod">
        <pc:chgData name="James Miguel" userId="d5ebf60b-7d27-4b64-ac6d-e42fec0f157d" providerId="ADAL" clId="{B6A8CBA3-11AE-4793-B909-E13643EA9168}" dt="2023-08-09T02:51:18.363" v="2148" actId="20577"/>
        <pc:sldMkLst>
          <pc:docMk/>
          <pc:sldMk cId="224114691" sldId="279"/>
        </pc:sldMkLst>
        <pc:spChg chg="mod">
          <ac:chgData name="James Miguel" userId="d5ebf60b-7d27-4b64-ac6d-e42fec0f157d" providerId="ADAL" clId="{B6A8CBA3-11AE-4793-B909-E13643EA9168}" dt="2023-08-09T02:51:18.363" v="2148" actId="20577"/>
          <ac:spMkLst>
            <pc:docMk/>
            <pc:sldMk cId="224114691" sldId="279"/>
            <ac:spMk id="3" creationId="{53E348BE-2845-4C7F-A1E3-55E2E9F70314}"/>
          </ac:spMkLst>
        </pc:spChg>
      </pc:sldChg>
      <pc:sldChg chg="new del">
        <pc:chgData name="James Miguel" userId="d5ebf60b-7d27-4b64-ac6d-e42fec0f157d" providerId="ADAL" clId="{B6A8CBA3-11AE-4793-B909-E13643EA9168}" dt="2023-08-09T02:46:50.022" v="2127" actId="47"/>
        <pc:sldMkLst>
          <pc:docMk/>
          <pc:sldMk cId="2971850703" sldId="280"/>
        </pc:sldMkLst>
      </pc:sldChg>
      <pc:sldChg chg="addSp delSp modSp new mod">
        <pc:chgData name="James Miguel" userId="d5ebf60b-7d27-4b64-ac6d-e42fec0f157d" providerId="ADAL" clId="{B6A8CBA3-11AE-4793-B909-E13643EA9168}" dt="2023-08-09T03:35:36.467" v="2156" actId="20577"/>
        <pc:sldMkLst>
          <pc:docMk/>
          <pc:sldMk cId="3297562583" sldId="280"/>
        </pc:sldMkLst>
        <pc:spChg chg="mod">
          <ac:chgData name="James Miguel" userId="d5ebf60b-7d27-4b64-ac6d-e42fec0f157d" providerId="ADAL" clId="{B6A8CBA3-11AE-4793-B909-E13643EA9168}" dt="2023-08-09T03:35:36.467" v="2156" actId="20577"/>
          <ac:spMkLst>
            <pc:docMk/>
            <pc:sldMk cId="3297562583" sldId="280"/>
            <ac:spMk id="2" creationId="{56C625C4-EE97-434D-A997-B2ED4BD33DDA}"/>
          </ac:spMkLst>
        </pc:spChg>
        <pc:spChg chg="del">
          <ac:chgData name="James Miguel" userId="d5ebf60b-7d27-4b64-ac6d-e42fec0f157d" providerId="ADAL" clId="{B6A8CBA3-11AE-4793-B909-E13643EA9168}" dt="2023-08-09T02:49:47.393" v="2143"/>
          <ac:spMkLst>
            <pc:docMk/>
            <pc:sldMk cId="3297562583" sldId="280"/>
            <ac:spMk id="3" creationId="{011A4FAA-63E0-4468-AD54-6E2C0CDEC70B}"/>
          </ac:spMkLst>
        </pc:spChg>
        <pc:spChg chg="mod">
          <ac:chgData name="James Miguel" userId="d5ebf60b-7d27-4b64-ac6d-e42fec0f157d" providerId="ADAL" clId="{B6A8CBA3-11AE-4793-B909-E13643EA9168}" dt="2023-08-09T02:49:55.935" v="2146" actId="26606"/>
          <ac:spMkLst>
            <pc:docMk/>
            <pc:sldMk cId="3297562583" sldId="280"/>
            <ac:spMk id="4" creationId="{F876FE7C-ABF5-4B43-9485-4FBBE655F72F}"/>
          </ac:spMkLst>
        </pc:spChg>
        <pc:picChg chg="add mod">
          <ac:chgData name="James Miguel" userId="d5ebf60b-7d27-4b64-ac6d-e42fec0f157d" providerId="ADAL" clId="{B6A8CBA3-11AE-4793-B909-E13643EA9168}" dt="2023-08-09T02:49:55.935" v="2146" actId="26606"/>
          <ac:picMkLst>
            <pc:docMk/>
            <pc:sldMk cId="3297562583" sldId="280"/>
            <ac:picMk id="6" creationId="{251A06D7-7FB0-4F3E-906C-018D20B68905}"/>
          </ac:picMkLst>
        </pc:picChg>
      </pc:sldChg>
      <pc:sldChg chg="modSp add mod">
        <pc:chgData name="James Miguel" userId="d5ebf60b-7d27-4b64-ac6d-e42fec0f157d" providerId="ADAL" clId="{B6A8CBA3-11AE-4793-B909-E13643EA9168}" dt="2023-08-09T03:44:37.654" v="2706" actId="20577"/>
        <pc:sldMkLst>
          <pc:docMk/>
          <pc:sldMk cId="185304398" sldId="281"/>
        </pc:sldMkLst>
        <pc:spChg chg="mod">
          <ac:chgData name="James Miguel" userId="d5ebf60b-7d27-4b64-ac6d-e42fec0f157d" providerId="ADAL" clId="{B6A8CBA3-11AE-4793-B909-E13643EA9168}" dt="2023-08-09T03:44:37.654" v="2706" actId="20577"/>
          <ac:spMkLst>
            <pc:docMk/>
            <pc:sldMk cId="185304398" sldId="281"/>
            <ac:spMk id="2" creationId="{1FB11FCA-EC4D-40E7-9950-89C48322866A}"/>
          </ac:spMkLst>
        </pc:spChg>
      </pc:sldChg>
      <pc:sldChg chg="addSp delSp modSp new del mod">
        <pc:chgData name="James Miguel" userId="d5ebf60b-7d27-4b64-ac6d-e42fec0f157d" providerId="ADAL" clId="{B6A8CBA3-11AE-4793-B909-E13643EA9168}" dt="2023-08-09T03:44:04.871" v="2653" actId="47"/>
        <pc:sldMkLst>
          <pc:docMk/>
          <pc:sldMk cId="477444571" sldId="281"/>
        </pc:sldMkLst>
        <pc:spChg chg="del mod">
          <ac:chgData name="James Miguel" userId="d5ebf60b-7d27-4b64-ac6d-e42fec0f157d" providerId="ADAL" clId="{B6A8CBA3-11AE-4793-B909-E13643EA9168}" dt="2023-08-09T03:44:00.974" v="2652" actId="478"/>
          <ac:spMkLst>
            <pc:docMk/>
            <pc:sldMk cId="477444571" sldId="281"/>
            <ac:spMk id="2" creationId="{634FA1B2-1393-4E26-8E50-443C5BB0E21B}"/>
          </ac:spMkLst>
        </pc:spChg>
        <pc:spChg chg="mod">
          <ac:chgData name="James Miguel" userId="d5ebf60b-7d27-4b64-ac6d-e42fec0f157d" providerId="ADAL" clId="{B6A8CBA3-11AE-4793-B909-E13643EA9168}" dt="2023-08-09T03:40:21.868" v="2309" actId="20577"/>
          <ac:spMkLst>
            <pc:docMk/>
            <pc:sldMk cId="477444571" sldId="281"/>
            <ac:spMk id="3" creationId="{07820085-7A29-4452-BD59-43001EEAF9B6}"/>
          </ac:spMkLst>
        </pc:spChg>
        <pc:spChg chg="add mod">
          <ac:chgData name="James Miguel" userId="d5ebf60b-7d27-4b64-ac6d-e42fec0f157d" providerId="ADAL" clId="{B6A8CBA3-11AE-4793-B909-E13643EA9168}" dt="2023-08-09T03:44:00.974" v="2652" actId="478"/>
          <ac:spMkLst>
            <pc:docMk/>
            <pc:sldMk cId="477444571" sldId="281"/>
            <ac:spMk id="5" creationId="{24284A4C-6C25-4545-B6FA-23D405F35F4C}"/>
          </ac:spMkLst>
        </pc:spChg>
      </pc:sldChg>
      <pc:sldChg chg="new del">
        <pc:chgData name="James Miguel" userId="d5ebf60b-7d27-4b64-ac6d-e42fec0f157d" providerId="ADAL" clId="{B6A8CBA3-11AE-4793-B909-E13643EA9168}" dt="2023-08-09T03:36:47.076" v="2159" actId="47"/>
        <pc:sldMkLst>
          <pc:docMk/>
          <pc:sldMk cId="1793474359" sldId="281"/>
        </pc:sldMkLst>
      </pc:sldChg>
    </pc:docChg>
  </pc:docChgLst>
  <pc:docChgLst>
    <pc:chgData name="Olivia Wix" userId="a2946e1c-9652-4327-9d42-1958f041f6eb" providerId="ADAL" clId="{F7DD2CED-80B6-4E84-A47C-330D6AC47518}"/>
    <pc:docChg chg="undo custSel modSld">
      <pc:chgData name="Olivia Wix" userId="a2946e1c-9652-4327-9d42-1958f041f6eb" providerId="ADAL" clId="{F7DD2CED-80B6-4E84-A47C-330D6AC47518}" dt="2023-08-24T23:08:20.130" v="2622" actId="20577"/>
      <pc:docMkLst>
        <pc:docMk/>
      </pc:docMkLst>
      <pc:sldChg chg="modSp mod">
        <pc:chgData name="Olivia Wix" userId="a2946e1c-9652-4327-9d42-1958f041f6eb" providerId="ADAL" clId="{F7DD2CED-80B6-4E84-A47C-330D6AC47518}" dt="2023-08-24T21:34:27.617" v="22" actId="20577"/>
        <pc:sldMkLst>
          <pc:docMk/>
          <pc:sldMk cId="3778109950" sldId="260"/>
        </pc:sldMkLst>
        <pc:spChg chg="mod">
          <ac:chgData name="Olivia Wix" userId="a2946e1c-9652-4327-9d42-1958f041f6eb" providerId="ADAL" clId="{F7DD2CED-80B6-4E84-A47C-330D6AC47518}" dt="2023-08-24T21:34:27.617" v="22" actId="20577"/>
          <ac:spMkLst>
            <pc:docMk/>
            <pc:sldMk cId="3778109950" sldId="260"/>
            <ac:spMk id="2" creationId="{FBC3F086-351C-4342-BE90-8D070D61C619}"/>
          </ac:spMkLst>
        </pc:spChg>
      </pc:sldChg>
      <pc:sldChg chg="modSp mod">
        <pc:chgData name="Olivia Wix" userId="a2946e1c-9652-4327-9d42-1958f041f6eb" providerId="ADAL" clId="{F7DD2CED-80B6-4E84-A47C-330D6AC47518}" dt="2023-08-24T21:34:12.767" v="10" actId="20577"/>
        <pc:sldMkLst>
          <pc:docMk/>
          <pc:sldMk cId="2895779692" sldId="261"/>
        </pc:sldMkLst>
        <pc:spChg chg="mod">
          <ac:chgData name="Olivia Wix" userId="a2946e1c-9652-4327-9d42-1958f041f6eb" providerId="ADAL" clId="{F7DD2CED-80B6-4E84-A47C-330D6AC47518}" dt="2023-08-24T21:34:12.767" v="10" actId="20577"/>
          <ac:spMkLst>
            <pc:docMk/>
            <pc:sldMk cId="2895779692" sldId="261"/>
            <ac:spMk id="2" creationId="{E600B4EC-8F1C-429A-816F-BE8093097C47}"/>
          </ac:spMkLst>
        </pc:spChg>
      </pc:sldChg>
      <pc:sldChg chg="addSp delSp modSp mod">
        <pc:chgData name="Olivia Wix" userId="a2946e1c-9652-4327-9d42-1958f041f6eb" providerId="ADAL" clId="{F7DD2CED-80B6-4E84-A47C-330D6AC47518}" dt="2023-08-24T22:59:27.461" v="2106" actId="12385"/>
        <pc:sldMkLst>
          <pc:docMk/>
          <pc:sldMk cId="1637867655" sldId="274"/>
        </pc:sldMkLst>
        <pc:spChg chg="mod">
          <ac:chgData name="Olivia Wix" userId="a2946e1c-9652-4327-9d42-1958f041f6eb" providerId="ADAL" clId="{F7DD2CED-80B6-4E84-A47C-330D6AC47518}" dt="2023-08-24T22:55:50.452" v="2072" actId="27636"/>
          <ac:spMkLst>
            <pc:docMk/>
            <pc:sldMk cId="1637867655" sldId="274"/>
            <ac:spMk id="2" creationId="{1FB11FCA-EC4D-40E7-9950-89C48322866A}"/>
          </ac:spMkLst>
        </pc:spChg>
        <pc:spChg chg="del mod">
          <ac:chgData name="Olivia Wix" userId="a2946e1c-9652-4327-9d42-1958f041f6eb" providerId="ADAL" clId="{F7DD2CED-80B6-4E84-A47C-330D6AC47518}" dt="2023-08-24T21:40:41.588" v="694" actId="478"/>
          <ac:spMkLst>
            <pc:docMk/>
            <pc:sldMk cId="1637867655" sldId="274"/>
            <ac:spMk id="3" creationId="{6ABE5BFC-9C6D-4A48-A099-BB65A33D7E6A}"/>
          </ac:spMkLst>
        </pc:spChg>
        <pc:spChg chg="del mod">
          <ac:chgData name="Olivia Wix" userId="a2946e1c-9652-4327-9d42-1958f041f6eb" providerId="ADAL" clId="{F7DD2CED-80B6-4E84-A47C-330D6AC47518}" dt="2023-08-24T21:40:39.884" v="693" actId="478"/>
          <ac:spMkLst>
            <pc:docMk/>
            <pc:sldMk cId="1637867655" sldId="274"/>
            <ac:spMk id="4" creationId="{68D1D357-7E86-495D-99F3-A8329D6F5383}"/>
          </ac:spMkLst>
        </pc:spChg>
        <pc:spChg chg="del mod">
          <ac:chgData name="Olivia Wix" userId="a2946e1c-9652-4327-9d42-1958f041f6eb" providerId="ADAL" clId="{F7DD2CED-80B6-4E84-A47C-330D6AC47518}" dt="2023-08-24T21:48:27.299" v="1524" actId="478"/>
          <ac:spMkLst>
            <pc:docMk/>
            <pc:sldMk cId="1637867655" sldId="274"/>
            <ac:spMk id="5" creationId="{8B64365A-A007-42B1-862B-557449268C70}"/>
          </ac:spMkLst>
        </pc:spChg>
        <pc:spChg chg="del mod">
          <ac:chgData name="Olivia Wix" userId="a2946e1c-9652-4327-9d42-1958f041f6eb" providerId="ADAL" clId="{F7DD2CED-80B6-4E84-A47C-330D6AC47518}" dt="2023-08-24T21:48:28.386" v="1525" actId="478"/>
          <ac:spMkLst>
            <pc:docMk/>
            <pc:sldMk cId="1637867655" sldId="274"/>
            <ac:spMk id="6" creationId="{BFE89F66-78CF-48DA-A2A5-F89A7594B266}"/>
          </ac:spMkLst>
        </pc:spChg>
        <pc:spChg chg="add del mod">
          <ac:chgData name="Olivia Wix" userId="a2946e1c-9652-4327-9d42-1958f041f6eb" providerId="ADAL" clId="{F7DD2CED-80B6-4E84-A47C-330D6AC47518}" dt="2023-08-24T21:40:44.925" v="696" actId="478"/>
          <ac:spMkLst>
            <pc:docMk/>
            <pc:sldMk cId="1637867655" sldId="274"/>
            <ac:spMk id="9" creationId="{3B25D121-9EE5-4039-8621-849E4AD4E6BC}"/>
          </ac:spMkLst>
        </pc:spChg>
        <pc:spChg chg="add del mod">
          <ac:chgData name="Olivia Wix" userId="a2946e1c-9652-4327-9d42-1958f041f6eb" providerId="ADAL" clId="{F7DD2CED-80B6-4E84-A47C-330D6AC47518}" dt="2023-08-24T22:55:54.970" v="2073" actId="478"/>
          <ac:spMkLst>
            <pc:docMk/>
            <pc:sldMk cId="1637867655" sldId="274"/>
            <ac:spMk id="10" creationId="{820FC4B5-4B24-4BAB-9830-136E8D546DA3}"/>
          </ac:spMkLst>
        </pc:spChg>
        <pc:spChg chg="add del mod">
          <ac:chgData name="Olivia Wix" userId="a2946e1c-9652-4327-9d42-1958f041f6eb" providerId="ADAL" clId="{F7DD2CED-80B6-4E84-A47C-330D6AC47518}" dt="2023-08-24T22:56:03.554" v="2075" actId="478"/>
          <ac:spMkLst>
            <pc:docMk/>
            <pc:sldMk cId="1637867655" sldId="274"/>
            <ac:spMk id="11" creationId="{886DF57D-8E9F-4C93-848A-5DC2DC28AA30}"/>
          </ac:spMkLst>
        </pc:spChg>
        <pc:graphicFrameChg chg="add mod modGraphic">
          <ac:chgData name="Olivia Wix" userId="a2946e1c-9652-4327-9d42-1958f041f6eb" providerId="ADAL" clId="{F7DD2CED-80B6-4E84-A47C-330D6AC47518}" dt="2023-08-24T22:59:27.461" v="2106" actId="12385"/>
          <ac:graphicFrameMkLst>
            <pc:docMk/>
            <pc:sldMk cId="1637867655" sldId="274"/>
            <ac:graphicFrameMk id="7" creationId="{56081714-C172-4C67-BE9D-FA7F6145EEF3}"/>
          </ac:graphicFrameMkLst>
        </pc:graphicFrameChg>
      </pc:sldChg>
      <pc:sldChg chg="modSp mod">
        <pc:chgData name="Olivia Wix" userId="a2946e1c-9652-4327-9d42-1958f041f6eb" providerId="ADAL" clId="{F7DD2CED-80B6-4E84-A47C-330D6AC47518}" dt="2023-08-24T21:34:46.832" v="50" actId="20577"/>
        <pc:sldMkLst>
          <pc:docMk/>
          <pc:sldMk cId="2728086529" sldId="275"/>
        </pc:sldMkLst>
        <pc:spChg chg="mod">
          <ac:chgData name="Olivia Wix" userId="a2946e1c-9652-4327-9d42-1958f041f6eb" providerId="ADAL" clId="{F7DD2CED-80B6-4E84-A47C-330D6AC47518}" dt="2023-08-24T21:34:46.832" v="50" actId="20577"/>
          <ac:spMkLst>
            <pc:docMk/>
            <pc:sldMk cId="2728086529" sldId="275"/>
            <ac:spMk id="4" creationId="{4D9200DE-8843-44E3-AC5E-58A8AD51672D}"/>
          </ac:spMkLst>
        </pc:spChg>
      </pc:sldChg>
      <pc:sldChg chg="addCm modCm">
        <pc:chgData name="Olivia Wix" userId="a2946e1c-9652-4327-9d42-1958f041f6eb" providerId="ADAL" clId="{F7DD2CED-80B6-4E84-A47C-330D6AC47518}" dt="2023-08-24T21:35:06.378" v="52"/>
        <pc:sldMkLst>
          <pc:docMk/>
          <pc:sldMk cId="3297562583" sldId="280"/>
        </pc:sldMkLst>
      </pc:sldChg>
      <pc:sldChg chg="addSp delSp modSp mod">
        <pc:chgData name="Olivia Wix" userId="a2946e1c-9652-4327-9d42-1958f041f6eb" providerId="ADAL" clId="{F7DD2CED-80B6-4E84-A47C-330D6AC47518}" dt="2023-08-24T23:08:20.130" v="2622" actId="20577"/>
        <pc:sldMkLst>
          <pc:docMk/>
          <pc:sldMk cId="185304398" sldId="281"/>
        </pc:sldMkLst>
        <pc:spChg chg="mod">
          <ac:chgData name="Olivia Wix" userId="a2946e1c-9652-4327-9d42-1958f041f6eb" providerId="ADAL" clId="{F7DD2CED-80B6-4E84-A47C-330D6AC47518}" dt="2023-08-24T23:07:51.633" v="2583" actId="113"/>
          <ac:spMkLst>
            <pc:docMk/>
            <pc:sldMk cId="185304398" sldId="281"/>
            <ac:spMk id="2" creationId="{1FB11FCA-EC4D-40E7-9950-89C48322866A}"/>
          </ac:spMkLst>
        </pc:spChg>
        <pc:spChg chg="del">
          <ac:chgData name="Olivia Wix" userId="a2946e1c-9652-4327-9d42-1958f041f6eb" providerId="ADAL" clId="{F7DD2CED-80B6-4E84-A47C-330D6AC47518}" dt="2023-08-24T22:05:46.340" v="2054" actId="478"/>
          <ac:spMkLst>
            <pc:docMk/>
            <pc:sldMk cId="185304398" sldId="281"/>
            <ac:spMk id="3" creationId="{6ABE5BFC-9C6D-4A48-A099-BB65A33D7E6A}"/>
          </ac:spMkLst>
        </pc:spChg>
        <pc:spChg chg="del">
          <ac:chgData name="Olivia Wix" userId="a2946e1c-9652-4327-9d42-1958f041f6eb" providerId="ADAL" clId="{F7DD2CED-80B6-4E84-A47C-330D6AC47518}" dt="2023-08-24T22:05:43.626" v="2053" actId="478"/>
          <ac:spMkLst>
            <pc:docMk/>
            <pc:sldMk cId="185304398" sldId="281"/>
            <ac:spMk id="4" creationId="{68D1D357-7E86-495D-99F3-A8329D6F5383}"/>
          </ac:spMkLst>
        </pc:spChg>
        <pc:spChg chg="del">
          <ac:chgData name="Olivia Wix" userId="a2946e1c-9652-4327-9d42-1958f041f6eb" providerId="ADAL" clId="{F7DD2CED-80B6-4E84-A47C-330D6AC47518}" dt="2023-08-24T22:05:40.912" v="2052" actId="478"/>
          <ac:spMkLst>
            <pc:docMk/>
            <pc:sldMk cId="185304398" sldId="281"/>
            <ac:spMk id="5" creationId="{8B64365A-A007-42B1-862B-557449268C70}"/>
          </ac:spMkLst>
        </pc:spChg>
        <pc:spChg chg="del">
          <ac:chgData name="Olivia Wix" userId="a2946e1c-9652-4327-9d42-1958f041f6eb" providerId="ADAL" clId="{F7DD2CED-80B6-4E84-A47C-330D6AC47518}" dt="2023-08-24T22:05:36.595" v="2051" actId="478"/>
          <ac:spMkLst>
            <pc:docMk/>
            <pc:sldMk cId="185304398" sldId="281"/>
            <ac:spMk id="6" creationId="{BFE89F66-78CF-48DA-A2A5-F89A7594B266}"/>
          </ac:spMkLst>
        </pc:spChg>
        <pc:spChg chg="add del mod">
          <ac:chgData name="Olivia Wix" userId="a2946e1c-9652-4327-9d42-1958f041f6eb" providerId="ADAL" clId="{F7DD2CED-80B6-4E84-A47C-330D6AC47518}" dt="2023-08-24T22:05:56.250" v="2064" actId="478"/>
          <ac:spMkLst>
            <pc:docMk/>
            <pc:sldMk cId="185304398" sldId="281"/>
            <ac:spMk id="8" creationId="{AFE75ADF-FE69-4F7D-ABC4-D96FF0D5E9C7}"/>
          </ac:spMkLst>
        </pc:spChg>
        <pc:spChg chg="add mod">
          <ac:chgData name="Olivia Wix" userId="a2946e1c-9652-4327-9d42-1958f041f6eb" providerId="ADAL" clId="{F7DD2CED-80B6-4E84-A47C-330D6AC47518}" dt="2023-08-24T23:08:20.130" v="2622" actId="20577"/>
          <ac:spMkLst>
            <pc:docMk/>
            <pc:sldMk cId="185304398" sldId="281"/>
            <ac:spMk id="10" creationId="{224167B6-22A3-4249-A502-066007EF29D9}"/>
          </ac:spMkLst>
        </pc:spChg>
      </pc:sldChg>
    </pc:docChg>
  </pc:docChgLst>
  <pc:docChgLst>
    <pc:chgData name="James Miguel" userId="d5ebf60b-7d27-4b64-ac6d-e42fec0f157d" providerId="ADAL" clId="{F77AB3F0-C9E9-4F1B-8E48-975E6CC441BF}"/>
    <pc:docChg chg="undo custSel addSld delSld modSld">
      <pc:chgData name="James Miguel" userId="d5ebf60b-7d27-4b64-ac6d-e42fec0f157d" providerId="ADAL" clId="{F77AB3F0-C9E9-4F1B-8E48-975E6CC441BF}" dt="2023-08-25T00:13:12.519" v="4394" actId="6549"/>
      <pc:docMkLst>
        <pc:docMk/>
      </pc:docMkLst>
      <pc:sldChg chg="modSp mod">
        <pc:chgData name="James Miguel" userId="d5ebf60b-7d27-4b64-ac6d-e42fec0f157d" providerId="ADAL" clId="{F77AB3F0-C9E9-4F1B-8E48-975E6CC441BF}" dt="2023-08-24T21:55:14.255" v="4199" actId="20577"/>
        <pc:sldMkLst>
          <pc:docMk/>
          <pc:sldMk cId="3778109950" sldId="260"/>
        </pc:sldMkLst>
        <pc:spChg chg="mod">
          <ac:chgData name="James Miguel" userId="d5ebf60b-7d27-4b64-ac6d-e42fec0f157d" providerId="ADAL" clId="{F77AB3F0-C9E9-4F1B-8E48-975E6CC441BF}" dt="2023-08-24T21:55:14.255" v="4199" actId="20577"/>
          <ac:spMkLst>
            <pc:docMk/>
            <pc:sldMk cId="3778109950" sldId="260"/>
            <ac:spMk id="4" creationId="{AEF2F44A-2915-4E51-8FF0-6DA78203FD9B}"/>
          </ac:spMkLst>
        </pc:spChg>
      </pc:sldChg>
      <pc:sldChg chg="modSp mod">
        <pc:chgData name="James Miguel" userId="d5ebf60b-7d27-4b64-ac6d-e42fec0f157d" providerId="ADAL" clId="{F77AB3F0-C9E9-4F1B-8E48-975E6CC441BF}" dt="2023-08-23T20:53:26.833" v="2473" actId="20577"/>
        <pc:sldMkLst>
          <pc:docMk/>
          <pc:sldMk cId="2895779692" sldId="261"/>
        </pc:sldMkLst>
        <pc:spChg chg="mod">
          <ac:chgData name="James Miguel" userId="d5ebf60b-7d27-4b64-ac6d-e42fec0f157d" providerId="ADAL" clId="{F77AB3F0-C9E9-4F1B-8E48-975E6CC441BF}" dt="2023-08-23T20:53:26.833" v="2473" actId="20577"/>
          <ac:spMkLst>
            <pc:docMk/>
            <pc:sldMk cId="2895779692" sldId="261"/>
            <ac:spMk id="2" creationId="{E600B4EC-8F1C-429A-816F-BE8093097C47}"/>
          </ac:spMkLst>
        </pc:spChg>
      </pc:sldChg>
      <pc:sldChg chg="modSp mod">
        <pc:chgData name="James Miguel" userId="d5ebf60b-7d27-4b64-ac6d-e42fec0f157d" providerId="ADAL" clId="{F77AB3F0-C9E9-4F1B-8E48-975E6CC441BF}" dt="2023-08-23T22:51:43.437" v="3976" actId="2710"/>
        <pc:sldMkLst>
          <pc:docMk/>
          <pc:sldMk cId="2814688385" sldId="273"/>
        </pc:sldMkLst>
        <pc:spChg chg="mod">
          <ac:chgData name="James Miguel" userId="d5ebf60b-7d27-4b64-ac6d-e42fec0f157d" providerId="ADAL" clId="{F77AB3F0-C9E9-4F1B-8E48-975E6CC441BF}" dt="2023-08-23T22:51:43.437" v="3976" actId="2710"/>
          <ac:spMkLst>
            <pc:docMk/>
            <pc:sldMk cId="2814688385" sldId="273"/>
            <ac:spMk id="2" creationId="{F69D20F8-BD34-4467-BBD2-C2D64C2D0416}"/>
          </ac:spMkLst>
        </pc:spChg>
      </pc:sldChg>
      <pc:sldChg chg="addSp modSp mod addCm delCm">
        <pc:chgData name="James Miguel" userId="d5ebf60b-7d27-4b64-ac6d-e42fec0f157d" providerId="ADAL" clId="{F77AB3F0-C9E9-4F1B-8E48-975E6CC441BF}" dt="2023-08-25T00:11:48.976" v="4392" actId="20577"/>
        <pc:sldMkLst>
          <pc:docMk/>
          <pc:sldMk cId="1637867655" sldId="274"/>
        </pc:sldMkLst>
        <pc:spChg chg="mod">
          <ac:chgData name="James Miguel" userId="d5ebf60b-7d27-4b64-ac6d-e42fec0f157d" providerId="ADAL" clId="{F77AB3F0-C9E9-4F1B-8E48-975E6CC441BF}" dt="2023-08-23T22:52:02.469" v="3994" actId="20577"/>
          <ac:spMkLst>
            <pc:docMk/>
            <pc:sldMk cId="1637867655" sldId="274"/>
            <ac:spMk id="2" creationId="{1FB11FCA-EC4D-40E7-9950-89C48322866A}"/>
          </ac:spMkLst>
        </pc:spChg>
        <pc:spChg chg="add mod">
          <ac:chgData name="James Miguel" userId="d5ebf60b-7d27-4b64-ac6d-e42fec0f157d" providerId="ADAL" clId="{F77AB3F0-C9E9-4F1B-8E48-975E6CC441BF}" dt="2023-08-25T00:11:48.976" v="4392" actId="20577"/>
          <ac:spMkLst>
            <pc:docMk/>
            <pc:sldMk cId="1637867655" sldId="274"/>
            <ac:spMk id="5" creationId="{E2F3643B-0A61-4DB2-B5D5-D470F90E023D}"/>
          </ac:spMkLst>
        </pc:spChg>
        <pc:graphicFrameChg chg="mod modGraphic">
          <ac:chgData name="James Miguel" userId="d5ebf60b-7d27-4b64-ac6d-e42fec0f157d" providerId="ADAL" clId="{F77AB3F0-C9E9-4F1B-8E48-975E6CC441BF}" dt="2023-08-25T00:11:45.478" v="4390" actId="20577"/>
          <ac:graphicFrameMkLst>
            <pc:docMk/>
            <pc:sldMk cId="1637867655" sldId="274"/>
            <ac:graphicFrameMk id="7" creationId="{56081714-C172-4C67-BE9D-FA7F6145EEF3}"/>
          </ac:graphicFrameMkLst>
        </pc:graphicFrameChg>
      </pc:sldChg>
      <pc:sldChg chg="delSp modSp mod">
        <pc:chgData name="James Miguel" userId="d5ebf60b-7d27-4b64-ac6d-e42fec0f157d" providerId="ADAL" clId="{F77AB3F0-C9E9-4F1B-8E48-975E6CC441BF}" dt="2023-08-23T20:52:43.045" v="2467" actId="478"/>
        <pc:sldMkLst>
          <pc:docMk/>
          <pc:sldMk cId="2728086529" sldId="275"/>
        </pc:sldMkLst>
        <pc:spChg chg="del">
          <ac:chgData name="James Miguel" userId="d5ebf60b-7d27-4b64-ac6d-e42fec0f157d" providerId="ADAL" clId="{F77AB3F0-C9E9-4F1B-8E48-975E6CC441BF}" dt="2023-08-23T20:52:43.045" v="2467" actId="478"/>
          <ac:spMkLst>
            <pc:docMk/>
            <pc:sldMk cId="2728086529" sldId="275"/>
            <ac:spMk id="3" creationId="{A046FC3D-C26E-4B77-976B-C7101CFDC173}"/>
          </ac:spMkLst>
        </pc:spChg>
        <pc:spChg chg="mod">
          <ac:chgData name="James Miguel" userId="d5ebf60b-7d27-4b64-ac6d-e42fec0f157d" providerId="ADAL" clId="{F77AB3F0-C9E9-4F1B-8E48-975E6CC441BF}" dt="2023-08-23T01:26:43.452" v="1314" actId="20577"/>
          <ac:spMkLst>
            <pc:docMk/>
            <pc:sldMk cId="2728086529" sldId="275"/>
            <ac:spMk id="4" creationId="{4D9200DE-8843-44E3-AC5E-58A8AD51672D}"/>
          </ac:spMkLst>
        </pc:spChg>
      </pc:sldChg>
      <pc:sldChg chg="addSp delSp modSp mod">
        <pc:chgData name="James Miguel" userId="d5ebf60b-7d27-4b64-ac6d-e42fec0f157d" providerId="ADAL" clId="{F77AB3F0-C9E9-4F1B-8E48-975E6CC441BF}" dt="2023-08-23T20:52:01.744" v="2465" actId="478"/>
        <pc:sldMkLst>
          <pc:docMk/>
          <pc:sldMk cId="4009353018" sldId="277"/>
        </pc:sldMkLst>
        <pc:spChg chg="add del mod">
          <ac:chgData name="James Miguel" userId="d5ebf60b-7d27-4b64-ac6d-e42fec0f157d" providerId="ADAL" clId="{F77AB3F0-C9E9-4F1B-8E48-975E6CC441BF}" dt="2023-08-23T20:52:01.744" v="2465" actId="478"/>
          <ac:spMkLst>
            <pc:docMk/>
            <pc:sldMk cId="4009353018" sldId="277"/>
            <ac:spMk id="5" creationId="{7A2C8787-1DA9-4E05-80D4-7F6F3A2AD479}"/>
          </ac:spMkLst>
        </pc:spChg>
      </pc:sldChg>
      <pc:sldChg chg="modSp mod">
        <pc:chgData name="James Miguel" userId="d5ebf60b-7d27-4b64-ac6d-e42fec0f157d" providerId="ADAL" clId="{F77AB3F0-C9E9-4F1B-8E48-975E6CC441BF}" dt="2023-08-24T22:02:29.056" v="4200" actId="20577"/>
        <pc:sldMkLst>
          <pc:docMk/>
          <pc:sldMk cId="4282790831" sldId="278"/>
        </pc:sldMkLst>
        <pc:spChg chg="mod">
          <ac:chgData name="James Miguel" userId="d5ebf60b-7d27-4b64-ac6d-e42fec0f157d" providerId="ADAL" clId="{F77AB3F0-C9E9-4F1B-8E48-975E6CC441BF}" dt="2023-08-23T20:52:12.744" v="2466" actId="113"/>
          <ac:spMkLst>
            <pc:docMk/>
            <pc:sldMk cId="4282790831" sldId="278"/>
            <ac:spMk id="3" creationId="{9F26ABCA-29D0-4AFA-9DD0-DB97D628BB16}"/>
          </ac:spMkLst>
        </pc:spChg>
        <pc:spChg chg="mod">
          <ac:chgData name="James Miguel" userId="d5ebf60b-7d27-4b64-ac6d-e42fec0f157d" providerId="ADAL" clId="{F77AB3F0-C9E9-4F1B-8E48-975E6CC441BF}" dt="2023-08-24T22:02:29.056" v="4200" actId="20577"/>
          <ac:spMkLst>
            <pc:docMk/>
            <pc:sldMk cId="4282790831" sldId="278"/>
            <ac:spMk id="4" creationId="{F6A8D924-FE2E-41E6-AD8E-57A801A4BD0C}"/>
          </ac:spMkLst>
        </pc:spChg>
      </pc:sldChg>
      <pc:sldChg chg="addSp delSp modSp mod addCm delCm modCm modNotesTx">
        <pc:chgData name="James Miguel" userId="d5ebf60b-7d27-4b64-ac6d-e42fec0f157d" providerId="ADAL" clId="{F77AB3F0-C9E9-4F1B-8E48-975E6CC441BF}" dt="2023-08-25T00:13:05.426" v="4393" actId="6549"/>
        <pc:sldMkLst>
          <pc:docMk/>
          <pc:sldMk cId="224114691" sldId="279"/>
        </pc:sldMkLst>
        <pc:spChg chg="mod">
          <ac:chgData name="James Miguel" userId="d5ebf60b-7d27-4b64-ac6d-e42fec0f157d" providerId="ADAL" clId="{F77AB3F0-C9E9-4F1B-8E48-975E6CC441BF}" dt="2023-08-23T22:53:26.755" v="4027" actId="20577"/>
          <ac:spMkLst>
            <pc:docMk/>
            <pc:sldMk cId="224114691" sldId="279"/>
            <ac:spMk id="2" creationId="{FF3A645A-0647-43EE-921A-966BC3E6C484}"/>
          </ac:spMkLst>
        </pc:spChg>
        <pc:graphicFrameChg chg="add mod modGraphic">
          <ac:chgData name="James Miguel" userId="d5ebf60b-7d27-4b64-ac6d-e42fec0f157d" providerId="ADAL" clId="{F77AB3F0-C9E9-4F1B-8E48-975E6CC441BF}" dt="2023-08-23T22:09:40.512" v="2804" actId="1076"/>
          <ac:graphicFrameMkLst>
            <pc:docMk/>
            <pc:sldMk cId="224114691" sldId="279"/>
            <ac:graphicFrameMk id="4" creationId="{822D1EC9-1B91-4E7E-B7E2-852A63126E7C}"/>
          </ac:graphicFrameMkLst>
        </pc:graphicFrameChg>
        <pc:graphicFrameChg chg="add del mod modGraphic">
          <ac:chgData name="James Miguel" userId="d5ebf60b-7d27-4b64-ac6d-e42fec0f157d" providerId="ADAL" clId="{F77AB3F0-C9E9-4F1B-8E48-975E6CC441BF}" dt="2023-08-23T22:16:31.686" v="3044" actId="478"/>
          <ac:graphicFrameMkLst>
            <pc:docMk/>
            <pc:sldMk cId="224114691" sldId="279"/>
            <ac:graphicFrameMk id="5" creationId="{E85B3CF3-6772-42C4-9D6D-C45C5A3D8EB2}"/>
          </ac:graphicFrameMkLst>
        </pc:graphicFrameChg>
        <pc:graphicFrameChg chg="add del mod modGraphic">
          <ac:chgData name="James Miguel" userId="d5ebf60b-7d27-4b64-ac6d-e42fec0f157d" providerId="ADAL" clId="{F77AB3F0-C9E9-4F1B-8E48-975E6CC441BF}" dt="2023-08-23T22:21:02.501" v="3178" actId="478"/>
          <ac:graphicFrameMkLst>
            <pc:docMk/>
            <pc:sldMk cId="224114691" sldId="279"/>
            <ac:graphicFrameMk id="6" creationId="{EA6E3B27-FFD7-43DE-B64B-E48742EC1EE1}"/>
          </ac:graphicFrameMkLst>
        </pc:graphicFrameChg>
        <pc:graphicFrameChg chg="add mod modGraphic">
          <ac:chgData name="James Miguel" userId="d5ebf60b-7d27-4b64-ac6d-e42fec0f157d" providerId="ADAL" clId="{F77AB3F0-C9E9-4F1B-8E48-975E6CC441BF}" dt="2023-08-23T22:53:30.929" v="4028" actId="1076"/>
          <ac:graphicFrameMkLst>
            <pc:docMk/>
            <pc:sldMk cId="224114691" sldId="279"/>
            <ac:graphicFrameMk id="7" creationId="{DAEDABA5-8703-4940-9628-08173D7825D0}"/>
          </ac:graphicFrameMkLst>
        </pc:graphicFrameChg>
      </pc:sldChg>
      <pc:sldChg chg="modSp mod delCm">
        <pc:chgData name="James Miguel" userId="d5ebf60b-7d27-4b64-ac6d-e42fec0f157d" providerId="ADAL" clId="{F77AB3F0-C9E9-4F1B-8E48-975E6CC441BF}" dt="2023-08-24T21:53:52.291" v="4198" actId="20577"/>
        <pc:sldMkLst>
          <pc:docMk/>
          <pc:sldMk cId="3297562583" sldId="280"/>
        </pc:sldMkLst>
        <pc:spChg chg="mod">
          <ac:chgData name="James Miguel" userId="d5ebf60b-7d27-4b64-ac6d-e42fec0f157d" providerId="ADAL" clId="{F77AB3F0-C9E9-4F1B-8E48-975E6CC441BF}" dt="2023-08-24T21:53:52.291" v="4198" actId="20577"/>
          <ac:spMkLst>
            <pc:docMk/>
            <pc:sldMk cId="3297562583" sldId="280"/>
            <ac:spMk id="2" creationId="{56C625C4-EE97-434D-A997-B2ED4BD33DDA}"/>
          </ac:spMkLst>
        </pc:spChg>
      </pc:sldChg>
      <pc:sldChg chg="modSp del mod">
        <pc:chgData name="James Miguel" userId="d5ebf60b-7d27-4b64-ac6d-e42fec0f157d" providerId="ADAL" clId="{F77AB3F0-C9E9-4F1B-8E48-975E6CC441BF}" dt="2023-08-25T00:11:11.145" v="4313" actId="47"/>
        <pc:sldMkLst>
          <pc:docMk/>
          <pc:sldMk cId="185304398" sldId="281"/>
        </pc:sldMkLst>
        <pc:spChg chg="mod">
          <ac:chgData name="James Miguel" userId="d5ebf60b-7d27-4b64-ac6d-e42fec0f157d" providerId="ADAL" clId="{F77AB3F0-C9E9-4F1B-8E48-975E6CC441BF}" dt="2023-08-25T00:11:00.081" v="4310" actId="21"/>
          <ac:spMkLst>
            <pc:docMk/>
            <pc:sldMk cId="185304398" sldId="281"/>
            <ac:spMk id="2" creationId="{1FB11FCA-EC4D-40E7-9950-89C48322866A}"/>
          </ac:spMkLst>
        </pc:spChg>
        <pc:spChg chg="mod">
          <ac:chgData name="James Miguel" userId="d5ebf60b-7d27-4b64-ac6d-e42fec0f157d" providerId="ADAL" clId="{F77AB3F0-C9E9-4F1B-8E48-975E6CC441BF}" dt="2023-08-25T00:10:47.040" v="4309" actId="6549"/>
          <ac:spMkLst>
            <pc:docMk/>
            <pc:sldMk cId="185304398" sldId="281"/>
            <ac:spMk id="10" creationId="{224167B6-22A3-4249-A502-066007EF29D9}"/>
          </ac:spMkLst>
        </pc:spChg>
      </pc:sldChg>
      <pc:sldChg chg="addSp delSp modSp new mod modNotesTx">
        <pc:chgData name="James Miguel" userId="d5ebf60b-7d27-4b64-ac6d-e42fec0f157d" providerId="ADAL" clId="{F77AB3F0-C9E9-4F1B-8E48-975E6CC441BF}" dt="2023-08-25T00:13:12.519" v="4394" actId="6549"/>
        <pc:sldMkLst>
          <pc:docMk/>
          <pc:sldMk cId="3907582114" sldId="282"/>
        </pc:sldMkLst>
        <pc:spChg chg="mod">
          <ac:chgData name="James Miguel" userId="d5ebf60b-7d27-4b64-ac6d-e42fec0f157d" providerId="ADAL" clId="{F77AB3F0-C9E9-4F1B-8E48-975E6CC441BF}" dt="2023-08-23T22:54:36.464" v="4034" actId="20577"/>
          <ac:spMkLst>
            <pc:docMk/>
            <pc:sldMk cId="3907582114" sldId="282"/>
            <ac:spMk id="2" creationId="{64FE596E-C22D-4860-B475-9D1F97F54700}"/>
          </ac:spMkLst>
        </pc:spChg>
        <pc:spChg chg="del mod">
          <ac:chgData name="James Miguel" userId="d5ebf60b-7d27-4b64-ac6d-e42fec0f157d" providerId="ADAL" clId="{F77AB3F0-C9E9-4F1B-8E48-975E6CC441BF}" dt="2023-08-23T20:52:49.483" v="2468" actId="478"/>
          <ac:spMkLst>
            <pc:docMk/>
            <pc:sldMk cId="3907582114" sldId="282"/>
            <ac:spMk id="3" creationId="{D9DE6488-B4F2-4649-A8FA-DCD214429D82}"/>
          </ac:spMkLst>
        </pc:spChg>
        <pc:spChg chg="del mod">
          <ac:chgData name="James Miguel" userId="d5ebf60b-7d27-4b64-ac6d-e42fec0f157d" providerId="ADAL" clId="{F77AB3F0-C9E9-4F1B-8E48-975E6CC441BF}" dt="2023-08-21T00:17:04.164" v="253" actId="478"/>
          <ac:spMkLst>
            <pc:docMk/>
            <pc:sldMk cId="3907582114" sldId="282"/>
            <ac:spMk id="4" creationId="{92F9204F-EB47-4A3A-BB51-A73AB76F7D8B}"/>
          </ac:spMkLst>
        </pc:spChg>
        <pc:spChg chg="mod">
          <ac:chgData name="James Miguel" userId="d5ebf60b-7d27-4b64-ac6d-e42fec0f157d" providerId="ADAL" clId="{F77AB3F0-C9E9-4F1B-8E48-975E6CC441BF}" dt="2023-08-23T01:09:21.297" v="412" actId="1076"/>
          <ac:spMkLst>
            <pc:docMk/>
            <pc:sldMk cId="3907582114" sldId="282"/>
            <ac:spMk id="6" creationId="{E0575C10-EEB1-4454-BC05-0EEAB5492555}"/>
          </ac:spMkLst>
        </pc:spChg>
        <pc:spChg chg="mod">
          <ac:chgData name="James Miguel" userId="d5ebf60b-7d27-4b64-ac6d-e42fec0f157d" providerId="ADAL" clId="{F77AB3F0-C9E9-4F1B-8E48-975E6CC441BF}" dt="2023-08-23T01:09:24.514" v="413" actId="1076"/>
          <ac:spMkLst>
            <pc:docMk/>
            <pc:sldMk cId="3907582114" sldId="282"/>
            <ac:spMk id="7" creationId="{27AE2158-0B9A-4E02-925C-8EA6F0CBF7E0}"/>
          </ac:spMkLst>
        </pc:spChg>
        <pc:spChg chg="mod">
          <ac:chgData name="James Miguel" userId="d5ebf60b-7d27-4b64-ac6d-e42fec0f157d" providerId="ADAL" clId="{F77AB3F0-C9E9-4F1B-8E48-975E6CC441BF}" dt="2023-08-23T01:09:27.954" v="414" actId="1076"/>
          <ac:spMkLst>
            <pc:docMk/>
            <pc:sldMk cId="3907582114" sldId="282"/>
            <ac:spMk id="8" creationId="{2BACEE8E-91CC-4414-9C8D-95A6B786F9D6}"/>
          </ac:spMkLst>
        </pc:spChg>
        <pc:spChg chg="mod">
          <ac:chgData name="James Miguel" userId="d5ebf60b-7d27-4b64-ac6d-e42fec0f157d" providerId="ADAL" clId="{F77AB3F0-C9E9-4F1B-8E48-975E6CC441BF}" dt="2023-08-23T01:09:34.243" v="415" actId="1076"/>
          <ac:spMkLst>
            <pc:docMk/>
            <pc:sldMk cId="3907582114" sldId="282"/>
            <ac:spMk id="9" creationId="{2942312F-A9D4-48B1-B2B7-4227ED00F4D3}"/>
          </ac:spMkLst>
        </pc:spChg>
        <pc:spChg chg="mod">
          <ac:chgData name="James Miguel" userId="d5ebf60b-7d27-4b64-ac6d-e42fec0f157d" providerId="ADAL" clId="{F77AB3F0-C9E9-4F1B-8E48-975E6CC441BF}" dt="2023-08-23T01:13:09.609" v="446" actId="1076"/>
          <ac:spMkLst>
            <pc:docMk/>
            <pc:sldMk cId="3907582114" sldId="282"/>
            <ac:spMk id="10" creationId="{DC80C7E8-2BC7-4BD8-A3BA-62BAF3BB4374}"/>
          </ac:spMkLst>
        </pc:spChg>
        <pc:spChg chg="mod">
          <ac:chgData name="James Miguel" userId="d5ebf60b-7d27-4b64-ac6d-e42fec0f157d" providerId="ADAL" clId="{F77AB3F0-C9E9-4F1B-8E48-975E6CC441BF}" dt="2023-08-21T00:16:48.671" v="251"/>
          <ac:spMkLst>
            <pc:docMk/>
            <pc:sldMk cId="3907582114" sldId="282"/>
            <ac:spMk id="11" creationId="{BDBDC19D-D67D-4157-A319-193154173EF5}"/>
          </ac:spMkLst>
        </pc:spChg>
        <pc:spChg chg="mod">
          <ac:chgData name="James Miguel" userId="d5ebf60b-7d27-4b64-ac6d-e42fec0f157d" providerId="ADAL" clId="{F77AB3F0-C9E9-4F1B-8E48-975E6CC441BF}" dt="2023-08-21T00:16:48.671" v="251"/>
          <ac:spMkLst>
            <pc:docMk/>
            <pc:sldMk cId="3907582114" sldId="282"/>
            <ac:spMk id="12" creationId="{E9554527-018E-4D0E-9423-494698BD6AA9}"/>
          </ac:spMkLst>
        </pc:spChg>
        <pc:spChg chg="mod">
          <ac:chgData name="James Miguel" userId="d5ebf60b-7d27-4b64-ac6d-e42fec0f157d" providerId="ADAL" clId="{F77AB3F0-C9E9-4F1B-8E48-975E6CC441BF}" dt="2023-08-23T01:08:24.675" v="411" actId="20577"/>
          <ac:spMkLst>
            <pc:docMk/>
            <pc:sldMk cId="3907582114" sldId="282"/>
            <ac:spMk id="13" creationId="{750A5013-AB8B-4BB4-8240-466FAAD11CCE}"/>
          </ac:spMkLst>
        </pc:spChg>
        <pc:spChg chg="add mod">
          <ac:chgData name="James Miguel" userId="d5ebf60b-7d27-4b64-ac6d-e42fec0f157d" providerId="ADAL" clId="{F77AB3F0-C9E9-4F1B-8E48-975E6CC441BF}" dt="2023-08-23T01:11:00.957" v="438" actId="20577"/>
          <ac:spMkLst>
            <pc:docMk/>
            <pc:sldMk cId="3907582114" sldId="282"/>
            <ac:spMk id="33" creationId="{4F6B60FF-6440-412B-8DB5-DFA8F44A7FC7}"/>
          </ac:spMkLst>
        </pc:spChg>
        <pc:spChg chg="add mod">
          <ac:chgData name="James Miguel" userId="d5ebf60b-7d27-4b64-ac6d-e42fec0f157d" providerId="ADAL" clId="{F77AB3F0-C9E9-4F1B-8E48-975E6CC441BF}" dt="2023-08-23T01:15:11.625" v="476" actId="20577"/>
          <ac:spMkLst>
            <pc:docMk/>
            <pc:sldMk cId="3907582114" sldId="282"/>
            <ac:spMk id="42" creationId="{8D8E99FF-B3BD-444C-931D-BB3387046595}"/>
          </ac:spMkLst>
        </pc:spChg>
        <pc:spChg chg="add mod">
          <ac:chgData name="James Miguel" userId="d5ebf60b-7d27-4b64-ac6d-e42fec0f157d" providerId="ADAL" clId="{F77AB3F0-C9E9-4F1B-8E48-975E6CC441BF}" dt="2023-08-23T20:52:57.264" v="2472" actId="20577"/>
          <ac:spMkLst>
            <pc:docMk/>
            <pc:sldMk cId="3907582114" sldId="282"/>
            <ac:spMk id="43" creationId="{14CBB6D2-3BD0-4AFC-A054-A47B786614A2}"/>
          </ac:spMkLst>
        </pc:spChg>
        <pc:spChg chg="add del mod">
          <ac:chgData name="James Miguel" userId="d5ebf60b-7d27-4b64-ac6d-e42fec0f157d" providerId="ADAL" clId="{F77AB3F0-C9E9-4F1B-8E48-975E6CC441BF}" dt="2023-08-23T01:23:41.888" v="1229" actId="478"/>
          <ac:spMkLst>
            <pc:docMk/>
            <pc:sldMk cId="3907582114" sldId="282"/>
            <ac:spMk id="44" creationId="{985DAEB6-2889-4297-96C6-DB663F1FE26C}"/>
          </ac:spMkLst>
        </pc:spChg>
        <pc:grpChg chg="add mod">
          <ac:chgData name="James Miguel" userId="d5ebf60b-7d27-4b64-ac6d-e42fec0f157d" providerId="ADAL" clId="{F77AB3F0-C9E9-4F1B-8E48-975E6CC441BF}" dt="2023-08-23T01:11:23.829" v="445" actId="14100"/>
          <ac:grpSpMkLst>
            <pc:docMk/>
            <pc:sldMk cId="3907582114" sldId="282"/>
            <ac:grpSpMk id="5" creationId="{6EAC13A8-A41B-48B7-B00F-BA5DCD28BABA}"/>
          </ac:grpSpMkLst>
        </pc:grpChg>
        <pc:cxnChg chg="mod">
          <ac:chgData name="James Miguel" userId="d5ebf60b-7d27-4b64-ac6d-e42fec0f157d" providerId="ADAL" clId="{F77AB3F0-C9E9-4F1B-8E48-975E6CC441BF}" dt="2023-08-23T01:09:34.243" v="415" actId="1076"/>
          <ac:cxnSpMkLst>
            <pc:docMk/>
            <pc:sldMk cId="3907582114" sldId="282"/>
            <ac:cxnSpMk id="14" creationId="{07A1E0AC-6F81-4C10-B511-670E7863EFDA}"/>
          </ac:cxnSpMkLst>
        </pc:cxnChg>
        <pc:cxnChg chg="mod">
          <ac:chgData name="James Miguel" userId="d5ebf60b-7d27-4b64-ac6d-e42fec0f157d" providerId="ADAL" clId="{F77AB3F0-C9E9-4F1B-8E48-975E6CC441BF}" dt="2023-08-23T01:09:34.243" v="415" actId="1076"/>
          <ac:cxnSpMkLst>
            <pc:docMk/>
            <pc:sldMk cId="3907582114" sldId="282"/>
            <ac:cxnSpMk id="15" creationId="{CB2869B9-A94E-4735-817C-4DB5EBAC1FA1}"/>
          </ac:cxnSpMkLst>
        </pc:cxnChg>
        <pc:cxnChg chg="mod">
          <ac:chgData name="James Miguel" userId="d5ebf60b-7d27-4b64-ac6d-e42fec0f157d" providerId="ADAL" clId="{F77AB3F0-C9E9-4F1B-8E48-975E6CC441BF}" dt="2023-08-23T01:09:34.243" v="415" actId="1076"/>
          <ac:cxnSpMkLst>
            <pc:docMk/>
            <pc:sldMk cId="3907582114" sldId="282"/>
            <ac:cxnSpMk id="16" creationId="{BEFE6CEA-AD4E-4965-ABC4-AAD7DD55969E}"/>
          </ac:cxnSpMkLst>
        </pc:cxnChg>
        <pc:cxnChg chg="mod">
          <ac:chgData name="James Miguel" userId="d5ebf60b-7d27-4b64-ac6d-e42fec0f157d" providerId="ADAL" clId="{F77AB3F0-C9E9-4F1B-8E48-975E6CC441BF}" dt="2023-08-23T01:13:09.609" v="446" actId="1076"/>
          <ac:cxnSpMkLst>
            <pc:docMk/>
            <pc:sldMk cId="3907582114" sldId="282"/>
            <ac:cxnSpMk id="17" creationId="{892DCCF8-D130-4EBD-A7A6-2CA56C6CE07B}"/>
          </ac:cxnSpMkLst>
        </pc:cxnChg>
        <pc:cxnChg chg="mod">
          <ac:chgData name="James Miguel" userId="d5ebf60b-7d27-4b64-ac6d-e42fec0f157d" providerId="ADAL" clId="{F77AB3F0-C9E9-4F1B-8E48-975E6CC441BF}" dt="2023-08-23T01:09:34.243" v="415" actId="1076"/>
          <ac:cxnSpMkLst>
            <pc:docMk/>
            <pc:sldMk cId="3907582114" sldId="282"/>
            <ac:cxnSpMk id="18" creationId="{87B4C7BC-9251-47AA-B1E3-2D5A3AA766E4}"/>
          </ac:cxnSpMkLst>
        </pc:cxnChg>
        <pc:cxnChg chg="mod">
          <ac:chgData name="James Miguel" userId="d5ebf60b-7d27-4b64-ac6d-e42fec0f157d" providerId="ADAL" clId="{F77AB3F0-C9E9-4F1B-8E48-975E6CC441BF}" dt="2023-08-23T01:09:24.514" v="413" actId="1076"/>
          <ac:cxnSpMkLst>
            <pc:docMk/>
            <pc:sldMk cId="3907582114" sldId="282"/>
            <ac:cxnSpMk id="19" creationId="{D052A176-A599-4970-8901-EAEF9F9EA868}"/>
          </ac:cxnSpMkLst>
        </pc:cxnChg>
        <pc:cxnChg chg="mod">
          <ac:chgData name="James Miguel" userId="d5ebf60b-7d27-4b64-ac6d-e42fec0f157d" providerId="ADAL" clId="{F77AB3F0-C9E9-4F1B-8E48-975E6CC441BF}" dt="2023-08-23T01:09:27.954" v="414" actId="1076"/>
          <ac:cxnSpMkLst>
            <pc:docMk/>
            <pc:sldMk cId="3907582114" sldId="282"/>
            <ac:cxnSpMk id="20" creationId="{B97134BA-911D-4E1E-81D4-D140F5590076}"/>
          </ac:cxnSpMkLst>
        </pc:cxnChg>
        <pc:cxnChg chg="add mod">
          <ac:chgData name="James Miguel" userId="d5ebf60b-7d27-4b64-ac6d-e42fec0f157d" providerId="ADAL" clId="{F77AB3F0-C9E9-4F1B-8E48-975E6CC441BF}" dt="2023-08-23T01:11:23.829" v="445" actId="14100"/>
          <ac:cxnSpMkLst>
            <pc:docMk/>
            <pc:sldMk cId="3907582114" sldId="282"/>
            <ac:cxnSpMk id="35" creationId="{69C965C6-8C3C-46A8-BD48-427655FFDC26}"/>
          </ac:cxnSpMkLst>
        </pc:cxnChg>
        <pc:cxnChg chg="add mod">
          <ac:chgData name="James Miguel" userId="d5ebf60b-7d27-4b64-ac6d-e42fec0f157d" providerId="ADAL" clId="{F77AB3F0-C9E9-4F1B-8E48-975E6CC441BF}" dt="2023-08-23T01:13:44.718" v="459" actId="14100"/>
          <ac:cxnSpMkLst>
            <pc:docMk/>
            <pc:sldMk cId="3907582114" sldId="282"/>
            <ac:cxnSpMk id="39" creationId="{607CD5E5-7D01-469B-8391-3AAE4035A02D}"/>
          </ac:cxnSpMkLst>
        </pc:cxnChg>
        <pc:cxnChg chg="add del mod">
          <ac:chgData name="James Miguel" userId="d5ebf60b-7d27-4b64-ac6d-e42fec0f157d" providerId="ADAL" clId="{F77AB3F0-C9E9-4F1B-8E48-975E6CC441BF}" dt="2023-08-23T01:23:43.276" v="1230" actId="478"/>
          <ac:cxnSpMkLst>
            <pc:docMk/>
            <pc:sldMk cId="3907582114" sldId="282"/>
            <ac:cxnSpMk id="40" creationId="{4F3F17F9-1B66-4C69-B70B-C6D9FF94958E}"/>
          </ac:cxnSpMkLst>
        </pc:cxnChg>
        <pc:cxnChg chg="add mod">
          <ac:chgData name="James Miguel" userId="d5ebf60b-7d27-4b64-ac6d-e42fec0f157d" providerId="ADAL" clId="{F77AB3F0-C9E9-4F1B-8E48-975E6CC441BF}" dt="2023-08-23T01:21:32.775" v="1149" actId="1076"/>
          <ac:cxnSpMkLst>
            <pc:docMk/>
            <pc:sldMk cId="3907582114" sldId="282"/>
            <ac:cxnSpMk id="41" creationId="{085C8AA0-980C-4065-A175-2EAF3BA0D3C1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E3EA6E-7738-4476-AE0F-EF8AEE4C27D8}" type="datetimeFigureOut">
              <a:rPr lang="en-US" smtClean="0"/>
              <a:t>8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EFDE0-5837-4FBD-A90C-A2BFD7BAF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7963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EFDE0-5837-4FBD-A90C-A2BFD7BAF68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553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3EFDE0-5837-4FBD-A90C-A2BFD7BAF68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383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7.emf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7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4" Type="http://schemas.openxmlformats.org/officeDocument/2006/relationships/tags" Target="../tags/tag76.xml"/><Relationship Id="rId9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8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4" Type="http://schemas.openxmlformats.org/officeDocument/2006/relationships/tags" Target="../tags/tag82.xml"/><Relationship Id="rId9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8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Relationship Id="rId9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9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5" Type="http://schemas.openxmlformats.org/officeDocument/2006/relationships/tags" Target="../tags/tag95.xml"/><Relationship Id="rId4" Type="http://schemas.openxmlformats.org/officeDocument/2006/relationships/tags" Target="../tags/tag94.xml"/><Relationship Id="rId9" Type="http://schemas.openxmlformats.org/officeDocument/2006/relationships/image" Target="../media/image7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9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Relationship Id="rId9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7.bin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7.xml"/><Relationship Id="rId4" Type="http://schemas.openxmlformats.org/officeDocument/2006/relationships/tags" Target="../tags/tag10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3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5.bin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.xml"/><Relationship Id="rId7" Type="http://schemas.openxmlformats.org/officeDocument/2006/relationships/oleObject" Target="../embeddings/oleObject6.bin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47.xml"/><Relationship Id="rId7" Type="http://schemas.openxmlformats.org/officeDocument/2006/relationships/oleObject" Target="../embeddings/oleObject7.bin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7.emf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7.emf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Cover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964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F1F5F85-E802-FC70-26E8-A28072CC0C4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2. Slide Title">
            <a:extLst>
              <a:ext uri="{FF2B5EF4-FFF2-40B4-BE49-F238E27FC236}">
                <a16:creationId xmlns:a16="http://schemas.microsoft.com/office/drawing/2014/main" id="{68D0C977-DDDF-C94E-5E7E-6C87D698989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335271"/>
            <a:ext cx="9180576" cy="74417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41779FD5-26D4-529D-FD19-06B788F2C87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14493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4 point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7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FB827C9-E3DB-7108-D22B-E95641CB6B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0007" y="4905375"/>
            <a:ext cx="2160000" cy="553998"/>
          </a:xfrm>
        </p:spPr>
        <p:txBody>
          <a:bodyPr/>
          <a:lstStyle>
            <a:lvl1pPr algn="ctr">
              <a:defRPr sz="18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9B130A97-6D47-B5D8-FBC1-E62282776D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78204" y="4905375"/>
            <a:ext cx="2160000" cy="553998"/>
          </a:xfrm>
        </p:spPr>
        <p:txBody>
          <a:bodyPr/>
          <a:lstStyle>
            <a:lvl1pPr algn="ctr">
              <a:defRPr sz="18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8B636F93-13CC-814B-0DFD-B644E436C0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6401" y="4905375"/>
            <a:ext cx="2160000" cy="553998"/>
          </a:xfrm>
        </p:spPr>
        <p:txBody>
          <a:bodyPr/>
          <a:lstStyle>
            <a:lvl1pPr algn="ctr">
              <a:defRPr sz="18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B00FC830-ADE9-4446-45E1-A543B8A1E5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4598" y="4905375"/>
            <a:ext cx="2160000" cy="553998"/>
          </a:xfrm>
        </p:spPr>
        <p:txBody>
          <a:bodyPr/>
          <a:lstStyle>
            <a:lvl1pPr algn="ctr">
              <a:defRPr sz="18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ADDDFB0B-5383-A864-2795-05E7A78B1E3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0007" y="2349000"/>
            <a:ext cx="2160000" cy="2160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 anchorCtr="1"/>
          <a:lstStyle/>
          <a:p>
            <a:endParaRPr lang="en-US"/>
          </a:p>
        </p:txBody>
      </p:sp>
      <p:sp>
        <p:nvSpPr>
          <p:cNvPr id="40" name="Picture Placeholder 38">
            <a:extLst>
              <a:ext uri="{FF2B5EF4-FFF2-40B4-BE49-F238E27FC236}">
                <a16:creationId xmlns:a16="http://schemas.microsoft.com/office/drawing/2014/main" id="{63B85248-D4D0-6E1D-981C-C5804583BF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78204" y="2349000"/>
            <a:ext cx="2160000" cy="2160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 anchorCtr="1"/>
          <a:lstStyle/>
          <a:p>
            <a:endParaRPr lang="en-US"/>
          </a:p>
        </p:txBody>
      </p:sp>
      <p:sp>
        <p:nvSpPr>
          <p:cNvPr id="41" name="Picture Placeholder 38">
            <a:extLst>
              <a:ext uri="{FF2B5EF4-FFF2-40B4-BE49-F238E27FC236}">
                <a16:creationId xmlns:a16="http://schemas.microsoft.com/office/drawing/2014/main" id="{139E7176-8522-7FB7-0BCF-51F1ADA5C1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46401" y="2349000"/>
            <a:ext cx="2160000" cy="2160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 anchorCtr="1"/>
          <a:lstStyle/>
          <a:p>
            <a:endParaRPr lang="en-US"/>
          </a:p>
        </p:txBody>
      </p:sp>
      <p:sp>
        <p:nvSpPr>
          <p:cNvPr id="42" name="Picture Placeholder 38">
            <a:extLst>
              <a:ext uri="{FF2B5EF4-FFF2-40B4-BE49-F238E27FC236}">
                <a16:creationId xmlns:a16="http://schemas.microsoft.com/office/drawing/2014/main" id="{FFE9595F-4CBD-381A-80F1-BB640E6DAD2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314598" y="2349000"/>
            <a:ext cx="2160000" cy="2160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 anchorCtr="1"/>
          <a:lstStyle/>
          <a:p>
            <a:endParaRPr lang="en-US"/>
          </a:p>
        </p:txBody>
      </p:sp>
      <p:sp>
        <p:nvSpPr>
          <p:cNvPr id="43" name="2. Slide Title">
            <a:extLst>
              <a:ext uri="{FF2B5EF4-FFF2-40B4-BE49-F238E27FC236}">
                <a16:creationId xmlns:a16="http://schemas.microsoft.com/office/drawing/2014/main" id="{8F4DAADD-28A9-CFB9-DDE6-4E2FFD41CB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19011"/>
            <a:ext cx="9624727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8D0A692-4FA9-4565-8885-C3D66675AFAC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957728"/>
            <a:ext cx="457200" cy="0"/>
          </a:xfrm>
          <a:prstGeom prst="line">
            <a:avLst/>
          </a:prstGeom>
          <a:noFill/>
          <a:ln w="19050" cap="flat" cmpd="sng" algn="ctr">
            <a:solidFill>
              <a:srgbClr val="08C8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6891827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Graphic stat layout _ 6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7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029E61C-6F09-1F67-D23A-06876956AE8D}"/>
              </a:ext>
            </a:extLst>
          </p:cNvPr>
          <p:cNvSpPr/>
          <p:nvPr userDrawn="1"/>
        </p:nvSpPr>
        <p:spPr>
          <a:xfrm>
            <a:off x="-1" y="0"/>
            <a:ext cx="4070195" cy="3429000"/>
          </a:xfrm>
          <a:prstGeom prst="rect">
            <a:avLst/>
          </a:prstGeom>
          <a:solidFill>
            <a:schemeClr val="accent2"/>
          </a:solidFill>
          <a:ln w="63500" cap="sq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F774A1-8023-E78F-2DDE-495961A6E159}"/>
              </a:ext>
            </a:extLst>
          </p:cNvPr>
          <p:cNvSpPr/>
          <p:nvPr userDrawn="1"/>
        </p:nvSpPr>
        <p:spPr>
          <a:xfrm>
            <a:off x="4070194" y="0"/>
            <a:ext cx="4051611" cy="3429000"/>
          </a:xfrm>
          <a:prstGeom prst="rect">
            <a:avLst/>
          </a:prstGeom>
          <a:solidFill>
            <a:schemeClr val="accent6"/>
          </a:solidFill>
          <a:ln w="63500" cap="sq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710264A-0320-FB8A-FD8C-B18299E3D6B9}"/>
              </a:ext>
            </a:extLst>
          </p:cNvPr>
          <p:cNvSpPr/>
          <p:nvPr userDrawn="1"/>
        </p:nvSpPr>
        <p:spPr>
          <a:xfrm>
            <a:off x="8121805" y="0"/>
            <a:ext cx="4070195" cy="3429000"/>
          </a:xfrm>
          <a:prstGeom prst="rect">
            <a:avLst/>
          </a:prstGeom>
          <a:solidFill>
            <a:schemeClr val="accent1"/>
          </a:solidFill>
          <a:ln w="63500" cap="sq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C4BA5A-B86F-E498-B158-79AE2CB090E2}"/>
              </a:ext>
            </a:extLst>
          </p:cNvPr>
          <p:cNvSpPr/>
          <p:nvPr userDrawn="1"/>
        </p:nvSpPr>
        <p:spPr>
          <a:xfrm>
            <a:off x="0" y="3429000"/>
            <a:ext cx="4070195" cy="3429000"/>
          </a:xfrm>
          <a:prstGeom prst="rect">
            <a:avLst/>
          </a:prstGeom>
          <a:solidFill>
            <a:schemeClr val="accent5"/>
          </a:solidFill>
          <a:ln w="63500" cap="sq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83F1820-41EB-5B7E-89E6-B9D542950DB7}"/>
              </a:ext>
            </a:extLst>
          </p:cNvPr>
          <p:cNvSpPr/>
          <p:nvPr userDrawn="1"/>
        </p:nvSpPr>
        <p:spPr>
          <a:xfrm>
            <a:off x="4070195" y="3429000"/>
            <a:ext cx="4051611" cy="3429000"/>
          </a:xfrm>
          <a:prstGeom prst="rect">
            <a:avLst/>
          </a:prstGeom>
          <a:solidFill>
            <a:schemeClr val="accent3"/>
          </a:solidFill>
          <a:ln w="63500" cap="sq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3A65AE-D11E-4973-CD01-D0170C96F86A}"/>
              </a:ext>
            </a:extLst>
          </p:cNvPr>
          <p:cNvSpPr/>
          <p:nvPr userDrawn="1"/>
        </p:nvSpPr>
        <p:spPr>
          <a:xfrm>
            <a:off x="8121806" y="3429000"/>
            <a:ext cx="4070195" cy="3429000"/>
          </a:xfrm>
          <a:prstGeom prst="rect">
            <a:avLst/>
          </a:prstGeom>
          <a:solidFill>
            <a:schemeClr val="accent4"/>
          </a:solidFill>
          <a:ln w="63500" cap="sq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BA0EF38A-4A35-8CE4-2F06-F780874ED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55096" y="2295989"/>
            <a:ext cx="2160000" cy="553998"/>
          </a:xfrm>
        </p:spPr>
        <p:txBody>
          <a:bodyPr/>
          <a:lstStyle>
            <a:lvl1pPr algn="ctr"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5EAA691E-BEE4-6763-7993-6D5FC3554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0453" y="1020047"/>
            <a:ext cx="3189287" cy="861774"/>
          </a:xfrm>
        </p:spPr>
        <p:txBody>
          <a:bodyPr/>
          <a:lstStyle>
            <a:lvl1pPr algn="ctr">
              <a:defRPr sz="28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26">
            <a:extLst>
              <a:ext uri="{FF2B5EF4-FFF2-40B4-BE49-F238E27FC236}">
                <a16:creationId xmlns:a16="http://schemas.microsoft.com/office/drawing/2014/main" id="{B63E3994-DFFD-690D-4BE1-707EFEDA2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15999" y="2295989"/>
            <a:ext cx="2160000" cy="553998"/>
          </a:xfrm>
        </p:spPr>
        <p:txBody>
          <a:bodyPr/>
          <a:lstStyle>
            <a:lvl1pPr algn="ctr"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35">
            <a:extLst>
              <a:ext uri="{FF2B5EF4-FFF2-40B4-BE49-F238E27FC236}">
                <a16:creationId xmlns:a16="http://schemas.microsoft.com/office/drawing/2014/main" id="{D41167CC-D032-D0E8-433A-48E31702A9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01356" y="1020047"/>
            <a:ext cx="3189287" cy="861774"/>
          </a:xfrm>
        </p:spPr>
        <p:txBody>
          <a:bodyPr/>
          <a:lstStyle>
            <a:lvl1pPr algn="ctr">
              <a:defRPr sz="28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26">
            <a:extLst>
              <a:ext uri="{FF2B5EF4-FFF2-40B4-BE49-F238E27FC236}">
                <a16:creationId xmlns:a16="http://schemas.microsoft.com/office/drawing/2014/main" id="{80198F72-E0F7-C342-11EC-D3234F8B44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076902" y="2295989"/>
            <a:ext cx="2160000" cy="553998"/>
          </a:xfrm>
        </p:spPr>
        <p:txBody>
          <a:bodyPr/>
          <a:lstStyle>
            <a:lvl1pPr algn="ctr"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Text Placeholder 35">
            <a:extLst>
              <a:ext uri="{FF2B5EF4-FFF2-40B4-BE49-F238E27FC236}">
                <a16:creationId xmlns:a16="http://schemas.microsoft.com/office/drawing/2014/main" id="{C67AAB32-57B6-9BDC-DC47-1BB741EA99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62259" y="1020047"/>
            <a:ext cx="3189287" cy="861774"/>
          </a:xfrm>
        </p:spPr>
        <p:txBody>
          <a:bodyPr/>
          <a:lstStyle>
            <a:lvl1pPr algn="ctr">
              <a:defRPr sz="28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3" name="Text Placeholder 26">
            <a:extLst>
              <a:ext uri="{FF2B5EF4-FFF2-40B4-BE49-F238E27FC236}">
                <a16:creationId xmlns:a16="http://schemas.microsoft.com/office/drawing/2014/main" id="{3AA98749-DDF7-6216-7400-B712CE501E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5096" y="5619052"/>
            <a:ext cx="2160000" cy="553998"/>
          </a:xfrm>
        </p:spPr>
        <p:txBody>
          <a:bodyPr/>
          <a:lstStyle>
            <a:lvl1pPr algn="ctr"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Text Placeholder 35">
            <a:extLst>
              <a:ext uri="{FF2B5EF4-FFF2-40B4-BE49-F238E27FC236}">
                <a16:creationId xmlns:a16="http://schemas.microsoft.com/office/drawing/2014/main" id="{DF1B3434-F4FE-1E50-3AE5-B357C1613E3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0453" y="4343110"/>
            <a:ext cx="3189287" cy="861774"/>
          </a:xfrm>
        </p:spPr>
        <p:txBody>
          <a:bodyPr/>
          <a:lstStyle>
            <a:lvl1pPr algn="ctr">
              <a:defRPr sz="28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5" name="Text Placeholder 26">
            <a:extLst>
              <a:ext uri="{FF2B5EF4-FFF2-40B4-BE49-F238E27FC236}">
                <a16:creationId xmlns:a16="http://schemas.microsoft.com/office/drawing/2014/main" id="{FD07D06E-6C2E-6923-5480-237E032C762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15999" y="5619052"/>
            <a:ext cx="2160000" cy="553998"/>
          </a:xfrm>
        </p:spPr>
        <p:txBody>
          <a:bodyPr/>
          <a:lstStyle>
            <a:lvl1pPr algn="ctr"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3BC61753-13E3-CC6C-8DFE-71894F8C5C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01356" y="4343110"/>
            <a:ext cx="3189287" cy="861774"/>
          </a:xfrm>
        </p:spPr>
        <p:txBody>
          <a:bodyPr/>
          <a:lstStyle>
            <a:lvl1pPr algn="ctr">
              <a:defRPr sz="2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6">
            <a:extLst>
              <a:ext uri="{FF2B5EF4-FFF2-40B4-BE49-F238E27FC236}">
                <a16:creationId xmlns:a16="http://schemas.microsoft.com/office/drawing/2014/main" id="{19164844-B74D-E3F8-8305-DEC0A1C9F9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76902" y="5619052"/>
            <a:ext cx="2160000" cy="553998"/>
          </a:xfrm>
        </p:spPr>
        <p:txBody>
          <a:bodyPr/>
          <a:lstStyle>
            <a:lvl1pPr algn="ctr"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1CDA7369-151A-0EA1-7029-FF2ADDE8D51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62259" y="4343110"/>
            <a:ext cx="3189287" cy="861774"/>
          </a:xfrm>
        </p:spPr>
        <p:txBody>
          <a:bodyPr/>
          <a:lstStyle>
            <a:lvl1pPr algn="ctr">
              <a:defRPr sz="28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0653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Graphic stat layout _ 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7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029E61C-6F09-1F67-D23A-06876956AE8D}"/>
              </a:ext>
            </a:extLst>
          </p:cNvPr>
          <p:cNvSpPr/>
          <p:nvPr userDrawn="1"/>
        </p:nvSpPr>
        <p:spPr>
          <a:xfrm>
            <a:off x="-1" y="0"/>
            <a:ext cx="6095999" cy="3429000"/>
          </a:xfrm>
          <a:prstGeom prst="rect">
            <a:avLst/>
          </a:prstGeom>
          <a:solidFill>
            <a:schemeClr val="accent4"/>
          </a:solidFill>
          <a:ln w="63500" cap="sq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F774A1-8023-E78F-2DDE-495961A6E159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chemeClr val="accent6"/>
          </a:solidFill>
          <a:ln w="63500" cap="sq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C4BA5A-B86F-E498-B158-79AE2CB090E2}"/>
              </a:ext>
            </a:extLst>
          </p:cNvPr>
          <p:cNvSpPr/>
          <p:nvPr userDrawn="1"/>
        </p:nvSpPr>
        <p:spPr>
          <a:xfrm>
            <a:off x="0" y="3429000"/>
            <a:ext cx="6095999" cy="3429000"/>
          </a:xfrm>
          <a:prstGeom prst="rect">
            <a:avLst/>
          </a:prstGeom>
          <a:solidFill>
            <a:schemeClr val="accent5"/>
          </a:solidFill>
          <a:ln w="63500" cap="sq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83F1820-41EB-5B7E-89E6-B9D542950DB7}"/>
              </a:ext>
            </a:extLst>
          </p:cNvPr>
          <p:cNvSpPr/>
          <p:nvPr userDrawn="1"/>
        </p:nvSpPr>
        <p:spPr>
          <a:xfrm>
            <a:off x="6096001" y="3429000"/>
            <a:ext cx="6096000" cy="3429000"/>
          </a:xfrm>
          <a:prstGeom prst="rect">
            <a:avLst/>
          </a:prstGeom>
          <a:solidFill>
            <a:schemeClr val="accent3"/>
          </a:solidFill>
          <a:ln w="63500" cap="sq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BA0EF38A-4A35-8CE4-2F06-F780874ED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30464" y="2295989"/>
            <a:ext cx="3235068" cy="553998"/>
          </a:xfrm>
        </p:spPr>
        <p:txBody>
          <a:bodyPr/>
          <a:lstStyle>
            <a:lvl1pPr algn="ctr"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5EAA691E-BEE4-6763-7993-6D5FC3554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9674" y="1020047"/>
            <a:ext cx="4776648" cy="861774"/>
          </a:xfrm>
        </p:spPr>
        <p:txBody>
          <a:bodyPr/>
          <a:lstStyle>
            <a:lvl1pPr algn="ctr">
              <a:defRPr sz="28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26">
            <a:extLst>
              <a:ext uri="{FF2B5EF4-FFF2-40B4-BE49-F238E27FC236}">
                <a16:creationId xmlns:a16="http://schemas.microsoft.com/office/drawing/2014/main" id="{B63E3994-DFFD-690D-4BE1-707EFEDA2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19047" y="2295989"/>
            <a:ext cx="3249907" cy="553998"/>
          </a:xfrm>
        </p:spPr>
        <p:txBody>
          <a:bodyPr/>
          <a:lstStyle>
            <a:lvl1pPr algn="ctr"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35">
            <a:extLst>
              <a:ext uri="{FF2B5EF4-FFF2-40B4-BE49-F238E27FC236}">
                <a16:creationId xmlns:a16="http://schemas.microsoft.com/office/drawing/2014/main" id="{D41167CC-D032-D0E8-433A-48E31702A9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44721" y="1020047"/>
            <a:ext cx="4798559" cy="861774"/>
          </a:xfrm>
        </p:spPr>
        <p:txBody>
          <a:bodyPr/>
          <a:lstStyle>
            <a:lvl1pPr algn="ctr">
              <a:defRPr sz="28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3" name="Text Placeholder 26">
            <a:extLst>
              <a:ext uri="{FF2B5EF4-FFF2-40B4-BE49-F238E27FC236}">
                <a16:creationId xmlns:a16="http://schemas.microsoft.com/office/drawing/2014/main" id="{3AA98749-DDF7-6216-7400-B712CE501E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30465" y="5619052"/>
            <a:ext cx="3235068" cy="553998"/>
          </a:xfrm>
        </p:spPr>
        <p:txBody>
          <a:bodyPr/>
          <a:lstStyle>
            <a:lvl1pPr algn="ctr"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Text Placeholder 35">
            <a:extLst>
              <a:ext uri="{FF2B5EF4-FFF2-40B4-BE49-F238E27FC236}">
                <a16:creationId xmlns:a16="http://schemas.microsoft.com/office/drawing/2014/main" id="{DF1B3434-F4FE-1E50-3AE5-B357C1613E3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9675" y="4343110"/>
            <a:ext cx="4776648" cy="861774"/>
          </a:xfrm>
        </p:spPr>
        <p:txBody>
          <a:bodyPr/>
          <a:lstStyle>
            <a:lvl1pPr algn="ctr">
              <a:defRPr sz="2800"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5" name="Text Placeholder 26">
            <a:extLst>
              <a:ext uri="{FF2B5EF4-FFF2-40B4-BE49-F238E27FC236}">
                <a16:creationId xmlns:a16="http://schemas.microsoft.com/office/drawing/2014/main" id="{FD07D06E-6C2E-6923-5480-237E032C762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519048" y="5619052"/>
            <a:ext cx="3249907" cy="553998"/>
          </a:xfrm>
        </p:spPr>
        <p:txBody>
          <a:bodyPr/>
          <a:lstStyle>
            <a:lvl1pPr algn="ctr"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3BC61753-13E3-CC6C-8DFE-71894F8C5C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44722" y="4343110"/>
            <a:ext cx="4798559" cy="861774"/>
          </a:xfrm>
        </p:spPr>
        <p:txBody>
          <a:bodyPr/>
          <a:lstStyle>
            <a:lvl1pPr algn="ctr">
              <a:defRPr sz="28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9638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7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 34">
            <a:extLst>
              <a:ext uri="{FF2B5EF4-FFF2-40B4-BE49-F238E27FC236}">
                <a16:creationId xmlns:a16="http://schemas.microsoft.com/office/drawing/2014/main" id="{EFF5B315-5C4E-BC69-2C35-D2433EE0DAE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2272" y="220320"/>
            <a:ext cx="8564138" cy="6414514"/>
          </a:xfrm>
          <a:custGeom>
            <a:avLst/>
            <a:gdLst>
              <a:gd name="connsiteX0" fmla="*/ 0 w 8564138"/>
              <a:gd name="connsiteY0" fmla="*/ 0 h 6414514"/>
              <a:gd name="connsiteX1" fmla="*/ 7272893 w 8564138"/>
              <a:gd name="connsiteY1" fmla="*/ 0 h 6414514"/>
              <a:gd name="connsiteX2" fmla="*/ 7272893 w 8564138"/>
              <a:gd name="connsiteY2" fmla="*/ 888381 h 6414514"/>
              <a:gd name="connsiteX3" fmla="*/ 7458513 w 8564138"/>
              <a:gd name="connsiteY3" fmla="*/ 1074001 h 6414514"/>
              <a:gd name="connsiteX4" fmla="*/ 8200972 w 8564138"/>
              <a:gd name="connsiteY4" fmla="*/ 1074001 h 6414514"/>
              <a:gd name="connsiteX5" fmla="*/ 8386592 w 8564138"/>
              <a:gd name="connsiteY5" fmla="*/ 888381 h 6414514"/>
              <a:gd name="connsiteX6" fmla="*/ 8386592 w 8564138"/>
              <a:gd name="connsiteY6" fmla="*/ 0 h 6414514"/>
              <a:gd name="connsiteX7" fmla="*/ 8564138 w 8564138"/>
              <a:gd name="connsiteY7" fmla="*/ 0 h 6414514"/>
              <a:gd name="connsiteX8" fmla="*/ 8564138 w 8564138"/>
              <a:gd name="connsiteY8" fmla="*/ 6414514 h 6414514"/>
              <a:gd name="connsiteX9" fmla="*/ 0 w 8564138"/>
              <a:gd name="connsiteY9" fmla="*/ 6414514 h 641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564138" h="6414514">
                <a:moveTo>
                  <a:pt x="0" y="0"/>
                </a:moveTo>
                <a:lnTo>
                  <a:pt x="7272893" y="0"/>
                </a:lnTo>
                <a:lnTo>
                  <a:pt x="7272893" y="888381"/>
                </a:lnTo>
                <a:cubicBezTo>
                  <a:pt x="7272893" y="990896"/>
                  <a:pt x="7355998" y="1074001"/>
                  <a:pt x="7458513" y="1074001"/>
                </a:cubicBezTo>
                <a:lnTo>
                  <a:pt x="8200972" y="1074001"/>
                </a:lnTo>
                <a:cubicBezTo>
                  <a:pt x="8303487" y="1074001"/>
                  <a:pt x="8386592" y="990896"/>
                  <a:pt x="8386592" y="888381"/>
                </a:cubicBezTo>
                <a:lnTo>
                  <a:pt x="8386592" y="0"/>
                </a:lnTo>
                <a:lnTo>
                  <a:pt x="8564138" y="0"/>
                </a:lnTo>
                <a:lnTo>
                  <a:pt x="8564138" y="6414514"/>
                </a:lnTo>
                <a:lnTo>
                  <a:pt x="0" y="6414514"/>
                </a:lnTo>
                <a:close/>
              </a:path>
            </a:pathLst>
          </a:custGeom>
          <a:solidFill>
            <a:srgbClr val="F2F3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AFC95C7-389A-93DE-53BB-D55378F1FB0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972800" y="6511723"/>
            <a:ext cx="66522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t>Page </a:t>
            </a:r>
            <a:fld id="{4ABDCABE-3F10-B64C-92F1-862014417034}" type="slidenum">
              <a:rPr lang="en-US" sz="800" b="0" smtClean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rgbClr val="2D2D2D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BB8B85-9742-80BF-9A5F-5708F9DC2E15}"/>
              </a:ext>
            </a:extLst>
          </p:cNvPr>
          <p:cNvSpPr txBox="1"/>
          <p:nvPr userDrawn="1"/>
        </p:nvSpPr>
        <p:spPr>
          <a:xfrm>
            <a:off x="8026400" y="6511723"/>
            <a:ext cx="30353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defTabSz="457200" eaLnBrk="1" latinLnBrk="0" hangingPunct="1">
              <a:defRPr sz="850" spc="-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 eaLnBrk="1" latinLnBrk="0" hangingPunct="1">
              <a:defRPr sz="1800">
                <a:latin typeface="+mn-lt"/>
                <a:cs typeface="+mn-cs"/>
              </a:defRPr>
            </a:lvl2pPr>
            <a:lvl3pPr defTabSz="457200" eaLnBrk="1" latinLnBrk="0" hangingPunct="1">
              <a:defRPr sz="1800">
                <a:latin typeface="+mn-lt"/>
                <a:cs typeface="+mn-cs"/>
              </a:defRPr>
            </a:lvl3pPr>
            <a:lvl4pPr defTabSz="457200" eaLnBrk="1" latinLnBrk="0" hangingPunct="1">
              <a:defRPr sz="1800">
                <a:latin typeface="+mn-lt"/>
                <a:cs typeface="+mn-cs"/>
              </a:defRPr>
            </a:lvl4pPr>
            <a:lvl5pPr defTabSz="457200" eaLnBrk="1" latinLnBrk="0" hangingPunct="1">
              <a:defRPr sz="1800">
                <a:latin typeface="+mn-lt"/>
                <a:cs typeface="+mn-cs"/>
              </a:defRPr>
            </a:lvl5pPr>
            <a:lvl6pPr defTabSz="457200">
              <a:defRPr sz="1800">
                <a:latin typeface="+mn-lt"/>
                <a:cs typeface="+mn-cs"/>
              </a:defRPr>
            </a:lvl6pPr>
            <a:lvl7pPr defTabSz="457200">
              <a:defRPr sz="1800">
                <a:latin typeface="+mn-lt"/>
                <a:cs typeface="+mn-cs"/>
              </a:defRPr>
            </a:lvl7pPr>
            <a:lvl8pPr defTabSz="457200">
              <a:defRPr sz="1800">
                <a:latin typeface="+mn-lt"/>
                <a:cs typeface="+mn-cs"/>
              </a:defRPr>
            </a:lvl8pPr>
            <a:lvl9pPr defTabSz="457200">
              <a:defRPr sz="1800">
                <a:latin typeface="+mn-lt"/>
                <a:cs typeface="+mn-cs"/>
              </a:defRPr>
            </a:lvl9pPr>
          </a:lstStyle>
          <a:p>
            <a:pPr lvl="0" algn="r"/>
            <a:r>
              <a:rPr lang="en-US" sz="800">
                <a:solidFill>
                  <a:srgbClr val="2D2D2D"/>
                </a:solidFill>
                <a:latin typeface="+mn-lt"/>
              </a:rPr>
              <a:t>Palmerston North City Council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7BECEC71-E9B0-1A40-78F7-E972EB11951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5" y="3097938"/>
            <a:ext cx="2514600" cy="18181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071FBAA2-FC3C-8BD4-A4A6-D52101CAF9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12273" y="220320"/>
            <a:ext cx="8564137" cy="6417357"/>
          </a:xfrm>
          <a:custGeom>
            <a:avLst/>
            <a:gdLst>
              <a:gd name="connsiteX0" fmla="*/ 0 w 11753386"/>
              <a:gd name="connsiteY0" fmla="*/ 0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  <a:gd name="connsiteX0" fmla="*/ 3189249 w 11753386"/>
              <a:gd name="connsiteY0" fmla="*/ 11151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  <a:gd name="connsiteX10" fmla="*/ 3189249 w 11753386"/>
              <a:gd name="connsiteY10" fmla="*/ 11151 h 6417357"/>
              <a:gd name="connsiteX0" fmla="*/ 0 w 8564137"/>
              <a:gd name="connsiteY0" fmla="*/ 11151 h 6417357"/>
              <a:gd name="connsiteX1" fmla="*/ 7272891 w 8564137"/>
              <a:gd name="connsiteY1" fmla="*/ 0 h 6417357"/>
              <a:gd name="connsiteX2" fmla="*/ 7272891 w 8564137"/>
              <a:gd name="connsiteY2" fmla="*/ 888381 h 6417357"/>
              <a:gd name="connsiteX3" fmla="*/ 7458511 w 8564137"/>
              <a:gd name="connsiteY3" fmla="*/ 1074001 h 6417357"/>
              <a:gd name="connsiteX4" fmla="*/ 8200970 w 8564137"/>
              <a:gd name="connsiteY4" fmla="*/ 1074001 h 6417357"/>
              <a:gd name="connsiteX5" fmla="*/ 8386590 w 8564137"/>
              <a:gd name="connsiteY5" fmla="*/ 888381 h 6417357"/>
              <a:gd name="connsiteX6" fmla="*/ 8386590 w 8564137"/>
              <a:gd name="connsiteY6" fmla="*/ 0 h 6417357"/>
              <a:gd name="connsiteX7" fmla="*/ 8564137 w 8564137"/>
              <a:gd name="connsiteY7" fmla="*/ 0 h 6417357"/>
              <a:gd name="connsiteX8" fmla="*/ 8564137 w 8564137"/>
              <a:gd name="connsiteY8" fmla="*/ 6417357 h 6417357"/>
              <a:gd name="connsiteX9" fmla="*/ 0 w 8564137"/>
              <a:gd name="connsiteY9" fmla="*/ 6417357 h 6417357"/>
              <a:gd name="connsiteX10" fmla="*/ 0 w 8564137"/>
              <a:gd name="connsiteY10" fmla="*/ 11151 h 6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64137" h="6417357">
                <a:moveTo>
                  <a:pt x="0" y="11151"/>
                </a:moveTo>
                <a:lnTo>
                  <a:pt x="7272891" y="0"/>
                </a:lnTo>
                <a:lnTo>
                  <a:pt x="7272891" y="888381"/>
                </a:lnTo>
                <a:cubicBezTo>
                  <a:pt x="7272891" y="990896"/>
                  <a:pt x="7355996" y="1074001"/>
                  <a:pt x="7458511" y="1074001"/>
                </a:cubicBezTo>
                <a:lnTo>
                  <a:pt x="8200970" y="1074001"/>
                </a:lnTo>
                <a:cubicBezTo>
                  <a:pt x="8303485" y="1074001"/>
                  <a:pt x="8386590" y="990896"/>
                  <a:pt x="8386590" y="888381"/>
                </a:cubicBezTo>
                <a:lnTo>
                  <a:pt x="8386590" y="0"/>
                </a:lnTo>
                <a:lnTo>
                  <a:pt x="8564137" y="0"/>
                </a:lnTo>
                <a:lnTo>
                  <a:pt x="8564137" y="6417357"/>
                </a:lnTo>
                <a:lnTo>
                  <a:pt x="0" y="6417357"/>
                </a:lnTo>
                <a:lnTo>
                  <a:pt x="0" y="11151"/>
                </a:lnTo>
                <a:close/>
              </a:path>
            </a:pathLst>
          </a:custGeom>
          <a:noFill/>
        </p:spPr>
        <p:txBody>
          <a:bodyPr wrap="square" anchor="ctr" anchorCtr="1">
            <a:noAutofit/>
          </a:bodyPr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r>
              <a:rPr lang="en-US"/>
              <a:t>[CLICK TO CHANGE IMAGE]</a:t>
            </a:r>
          </a:p>
        </p:txBody>
      </p:sp>
      <p:sp>
        <p:nvSpPr>
          <p:cNvPr id="36" name="2. Slide Title">
            <a:extLst>
              <a:ext uri="{FF2B5EF4-FFF2-40B4-BE49-F238E27FC236}">
                <a16:creationId xmlns:a16="http://schemas.microsoft.com/office/drawing/2014/main" id="{8C95DE05-33B2-201D-94B8-47627637CD4B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172031"/>
            <a:ext cx="2514599" cy="51322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0346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7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 34">
            <a:extLst>
              <a:ext uri="{FF2B5EF4-FFF2-40B4-BE49-F238E27FC236}">
                <a16:creationId xmlns:a16="http://schemas.microsoft.com/office/drawing/2014/main" id="{EFF5B315-5C4E-BC69-2C35-D2433EE0DAE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0126" y="220320"/>
            <a:ext cx="7616284" cy="6425665"/>
          </a:xfrm>
          <a:custGeom>
            <a:avLst/>
            <a:gdLst>
              <a:gd name="connsiteX0" fmla="*/ 0 w 8564138"/>
              <a:gd name="connsiteY0" fmla="*/ 0 h 6414514"/>
              <a:gd name="connsiteX1" fmla="*/ 7272893 w 8564138"/>
              <a:gd name="connsiteY1" fmla="*/ 0 h 6414514"/>
              <a:gd name="connsiteX2" fmla="*/ 7272893 w 8564138"/>
              <a:gd name="connsiteY2" fmla="*/ 888381 h 6414514"/>
              <a:gd name="connsiteX3" fmla="*/ 7458513 w 8564138"/>
              <a:gd name="connsiteY3" fmla="*/ 1074001 h 6414514"/>
              <a:gd name="connsiteX4" fmla="*/ 8200972 w 8564138"/>
              <a:gd name="connsiteY4" fmla="*/ 1074001 h 6414514"/>
              <a:gd name="connsiteX5" fmla="*/ 8386592 w 8564138"/>
              <a:gd name="connsiteY5" fmla="*/ 888381 h 6414514"/>
              <a:gd name="connsiteX6" fmla="*/ 8386592 w 8564138"/>
              <a:gd name="connsiteY6" fmla="*/ 0 h 6414514"/>
              <a:gd name="connsiteX7" fmla="*/ 8564138 w 8564138"/>
              <a:gd name="connsiteY7" fmla="*/ 0 h 6414514"/>
              <a:gd name="connsiteX8" fmla="*/ 8564138 w 8564138"/>
              <a:gd name="connsiteY8" fmla="*/ 6414514 h 6414514"/>
              <a:gd name="connsiteX9" fmla="*/ 0 w 8564138"/>
              <a:gd name="connsiteY9" fmla="*/ 6414514 h 6414514"/>
              <a:gd name="connsiteX0" fmla="*/ 959004 w 8564138"/>
              <a:gd name="connsiteY0" fmla="*/ 0 h 6414514"/>
              <a:gd name="connsiteX1" fmla="*/ 7272893 w 8564138"/>
              <a:gd name="connsiteY1" fmla="*/ 0 h 6414514"/>
              <a:gd name="connsiteX2" fmla="*/ 7272893 w 8564138"/>
              <a:gd name="connsiteY2" fmla="*/ 888381 h 6414514"/>
              <a:gd name="connsiteX3" fmla="*/ 7458513 w 8564138"/>
              <a:gd name="connsiteY3" fmla="*/ 1074001 h 6414514"/>
              <a:gd name="connsiteX4" fmla="*/ 8200972 w 8564138"/>
              <a:gd name="connsiteY4" fmla="*/ 1074001 h 6414514"/>
              <a:gd name="connsiteX5" fmla="*/ 8386592 w 8564138"/>
              <a:gd name="connsiteY5" fmla="*/ 888381 h 6414514"/>
              <a:gd name="connsiteX6" fmla="*/ 8386592 w 8564138"/>
              <a:gd name="connsiteY6" fmla="*/ 0 h 6414514"/>
              <a:gd name="connsiteX7" fmla="*/ 8564138 w 8564138"/>
              <a:gd name="connsiteY7" fmla="*/ 0 h 6414514"/>
              <a:gd name="connsiteX8" fmla="*/ 8564138 w 8564138"/>
              <a:gd name="connsiteY8" fmla="*/ 6414514 h 6414514"/>
              <a:gd name="connsiteX9" fmla="*/ 0 w 8564138"/>
              <a:gd name="connsiteY9" fmla="*/ 6414514 h 6414514"/>
              <a:gd name="connsiteX10" fmla="*/ 959004 w 8564138"/>
              <a:gd name="connsiteY10" fmla="*/ 0 h 6414514"/>
              <a:gd name="connsiteX0" fmla="*/ 11150 w 7616284"/>
              <a:gd name="connsiteY0" fmla="*/ 0 h 6425665"/>
              <a:gd name="connsiteX1" fmla="*/ 6325039 w 7616284"/>
              <a:gd name="connsiteY1" fmla="*/ 0 h 6425665"/>
              <a:gd name="connsiteX2" fmla="*/ 6325039 w 7616284"/>
              <a:gd name="connsiteY2" fmla="*/ 888381 h 6425665"/>
              <a:gd name="connsiteX3" fmla="*/ 6510659 w 7616284"/>
              <a:gd name="connsiteY3" fmla="*/ 1074001 h 6425665"/>
              <a:gd name="connsiteX4" fmla="*/ 7253118 w 7616284"/>
              <a:gd name="connsiteY4" fmla="*/ 1074001 h 6425665"/>
              <a:gd name="connsiteX5" fmla="*/ 7438738 w 7616284"/>
              <a:gd name="connsiteY5" fmla="*/ 888381 h 6425665"/>
              <a:gd name="connsiteX6" fmla="*/ 7438738 w 7616284"/>
              <a:gd name="connsiteY6" fmla="*/ 0 h 6425665"/>
              <a:gd name="connsiteX7" fmla="*/ 7616284 w 7616284"/>
              <a:gd name="connsiteY7" fmla="*/ 0 h 6425665"/>
              <a:gd name="connsiteX8" fmla="*/ 7616284 w 7616284"/>
              <a:gd name="connsiteY8" fmla="*/ 6414514 h 6425665"/>
              <a:gd name="connsiteX9" fmla="*/ 0 w 7616284"/>
              <a:gd name="connsiteY9" fmla="*/ 6425665 h 6425665"/>
              <a:gd name="connsiteX10" fmla="*/ 11150 w 7616284"/>
              <a:gd name="connsiteY10" fmla="*/ 0 h 6425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616284" h="6425665">
                <a:moveTo>
                  <a:pt x="11150" y="0"/>
                </a:moveTo>
                <a:lnTo>
                  <a:pt x="6325039" y="0"/>
                </a:lnTo>
                <a:lnTo>
                  <a:pt x="6325039" y="888381"/>
                </a:lnTo>
                <a:cubicBezTo>
                  <a:pt x="6325039" y="990896"/>
                  <a:pt x="6408144" y="1074001"/>
                  <a:pt x="6510659" y="1074001"/>
                </a:cubicBezTo>
                <a:lnTo>
                  <a:pt x="7253118" y="1074001"/>
                </a:lnTo>
                <a:cubicBezTo>
                  <a:pt x="7355633" y="1074001"/>
                  <a:pt x="7438738" y="990896"/>
                  <a:pt x="7438738" y="888381"/>
                </a:cubicBezTo>
                <a:lnTo>
                  <a:pt x="7438738" y="0"/>
                </a:lnTo>
                <a:lnTo>
                  <a:pt x="7616284" y="0"/>
                </a:lnTo>
                <a:lnTo>
                  <a:pt x="7616284" y="6414514"/>
                </a:lnTo>
                <a:lnTo>
                  <a:pt x="0" y="6425665"/>
                </a:lnTo>
                <a:cubicBezTo>
                  <a:pt x="0" y="4287494"/>
                  <a:pt x="11150" y="2138171"/>
                  <a:pt x="11150" y="0"/>
                </a:cubicBezTo>
                <a:close/>
              </a:path>
            </a:pathLst>
          </a:custGeom>
          <a:solidFill>
            <a:srgbClr val="F2F3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AFC95C7-389A-93DE-53BB-D55378F1FB0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972800" y="6511723"/>
            <a:ext cx="66522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t>Page </a:t>
            </a:r>
            <a:fld id="{4ABDCABE-3F10-B64C-92F1-862014417034}" type="slidenum">
              <a:rPr lang="en-US" sz="800" b="0" smtClean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rgbClr val="2D2D2D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BB8B85-9742-80BF-9A5F-5708F9DC2E15}"/>
              </a:ext>
            </a:extLst>
          </p:cNvPr>
          <p:cNvSpPr txBox="1"/>
          <p:nvPr userDrawn="1"/>
        </p:nvSpPr>
        <p:spPr>
          <a:xfrm>
            <a:off x="8026400" y="6511723"/>
            <a:ext cx="30353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defTabSz="457200" eaLnBrk="1" latinLnBrk="0" hangingPunct="1">
              <a:defRPr sz="850" spc="-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 eaLnBrk="1" latinLnBrk="0" hangingPunct="1">
              <a:defRPr sz="1800">
                <a:latin typeface="+mn-lt"/>
                <a:cs typeface="+mn-cs"/>
              </a:defRPr>
            </a:lvl2pPr>
            <a:lvl3pPr defTabSz="457200" eaLnBrk="1" latinLnBrk="0" hangingPunct="1">
              <a:defRPr sz="1800">
                <a:latin typeface="+mn-lt"/>
                <a:cs typeface="+mn-cs"/>
              </a:defRPr>
            </a:lvl3pPr>
            <a:lvl4pPr defTabSz="457200" eaLnBrk="1" latinLnBrk="0" hangingPunct="1">
              <a:defRPr sz="1800">
                <a:latin typeface="+mn-lt"/>
                <a:cs typeface="+mn-cs"/>
              </a:defRPr>
            </a:lvl4pPr>
            <a:lvl5pPr defTabSz="457200" eaLnBrk="1" latinLnBrk="0" hangingPunct="1">
              <a:defRPr sz="1800">
                <a:latin typeface="+mn-lt"/>
                <a:cs typeface="+mn-cs"/>
              </a:defRPr>
            </a:lvl5pPr>
            <a:lvl6pPr defTabSz="457200">
              <a:defRPr sz="1800">
                <a:latin typeface="+mn-lt"/>
                <a:cs typeface="+mn-cs"/>
              </a:defRPr>
            </a:lvl6pPr>
            <a:lvl7pPr defTabSz="457200">
              <a:defRPr sz="1800">
                <a:latin typeface="+mn-lt"/>
                <a:cs typeface="+mn-cs"/>
              </a:defRPr>
            </a:lvl7pPr>
            <a:lvl8pPr defTabSz="457200">
              <a:defRPr sz="1800">
                <a:latin typeface="+mn-lt"/>
                <a:cs typeface="+mn-cs"/>
              </a:defRPr>
            </a:lvl8pPr>
            <a:lvl9pPr defTabSz="457200">
              <a:defRPr sz="1800">
                <a:latin typeface="+mn-lt"/>
                <a:cs typeface="+mn-cs"/>
              </a:defRPr>
            </a:lvl9pPr>
          </a:lstStyle>
          <a:p>
            <a:pPr lvl="0" algn="r"/>
            <a:r>
              <a:rPr lang="en-US" sz="800">
                <a:solidFill>
                  <a:srgbClr val="2D2D2D"/>
                </a:solidFill>
                <a:latin typeface="+mn-lt"/>
              </a:rPr>
              <a:t>Palmerston North City Council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7BECEC71-E9B0-1A40-78F7-E972EB11951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5" y="2812869"/>
            <a:ext cx="3496402" cy="348791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071FBAA2-FC3C-8BD4-A4A6-D52101CAF9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48975" y="220320"/>
            <a:ext cx="7627435" cy="6417357"/>
          </a:xfrm>
          <a:custGeom>
            <a:avLst/>
            <a:gdLst>
              <a:gd name="connsiteX0" fmla="*/ 0 w 11753386"/>
              <a:gd name="connsiteY0" fmla="*/ 0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  <a:gd name="connsiteX0" fmla="*/ 3189249 w 11753386"/>
              <a:gd name="connsiteY0" fmla="*/ 11151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  <a:gd name="connsiteX10" fmla="*/ 3189249 w 11753386"/>
              <a:gd name="connsiteY10" fmla="*/ 11151 h 6417357"/>
              <a:gd name="connsiteX0" fmla="*/ 0 w 8564137"/>
              <a:gd name="connsiteY0" fmla="*/ 11151 h 6417357"/>
              <a:gd name="connsiteX1" fmla="*/ 7272891 w 8564137"/>
              <a:gd name="connsiteY1" fmla="*/ 0 h 6417357"/>
              <a:gd name="connsiteX2" fmla="*/ 7272891 w 8564137"/>
              <a:gd name="connsiteY2" fmla="*/ 888381 h 6417357"/>
              <a:gd name="connsiteX3" fmla="*/ 7458511 w 8564137"/>
              <a:gd name="connsiteY3" fmla="*/ 1074001 h 6417357"/>
              <a:gd name="connsiteX4" fmla="*/ 8200970 w 8564137"/>
              <a:gd name="connsiteY4" fmla="*/ 1074001 h 6417357"/>
              <a:gd name="connsiteX5" fmla="*/ 8386590 w 8564137"/>
              <a:gd name="connsiteY5" fmla="*/ 888381 h 6417357"/>
              <a:gd name="connsiteX6" fmla="*/ 8386590 w 8564137"/>
              <a:gd name="connsiteY6" fmla="*/ 0 h 6417357"/>
              <a:gd name="connsiteX7" fmla="*/ 8564137 w 8564137"/>
              <a:gd name="connsiteY7" fmla="*/ 0 h 6417357"/>
              <a:gd name="connsiteX8" fmla="*/ 8564137 w 8564137"/>
              <a:gd name="connsiteY8" fmla="*/ 6417357 h 6417357"/>
              <a:gd name="connsiteX9" fmla="*/ 0 w 8564137"/>
              <a:gd name="connsiteY9" fmla="*/ 6417357 h 6417357"/>
              <a:gd name="connsiteX10" fmla="*/ 0 w 8564137"/>
              <a:gd name="connsiteY10" fmla="*/ 11151 h 6417357"/>
              <a:gd name="connsiteX0" fmla="*/ 0 w 8564137"/>
              <a:gd name="connsiteY0" fmla="*/ 11151 h 6417357"/>
              <a:gd name="connsiteX1" fmla="*/ 7272891 w 8564137"/>
              <a:gd name="connsiteY1" fmla="*/ 0 h 6417357"/>
              <a:gd name="connsiteX2" fmla="*/ 7272891 w 8564137"/>
              <a:gd name="connsiteY2" fmla="*/ 888381 h 6417357"/>
              <a:gd name="connsiteX3" fmla="*/ 7458511 w 8564137"/>
              <a:gd name="connsiteY3" fmla="*/ 1074001 h 6417357"/>
              <a:gd name="connsiteX4" fmla="*/ 8200970 w 8564137"/>
              <a:gd name="connsiteY4" fmla="*/ 1074001 h 6417357"/>
              <a:gd name="connsiteX5" fmla="*/ 8386590 w 8564137"/>
              <a:gd name="connsiteY5" fmla="*/ 888381 h 6417357"/>
              <a:gd name="connsiteX6" fmla="*/ 8386590 w 8564137"/>
              <a:gd name="connsiteY6" fmla="*/ 0 h 6417357"/>
              <a:gd name="connsiteX7" fmla="*/ 8564137 w 8564137"/>
              <a:gd name="connsiteY7" fmla="*/ 0 h 6417357"/>
              <a:gd name="connsiteX8" fmla="*/ 8564137 w 8564137"/>
              <a:gd name="connsiteY8" fmla="*/ 6417357 h 6417357"/>
              <a:gd name="connsiteX9" fmla="*/ 936702 w 8564137"/>
              <a:gd name="connsiteY9" fmla="*/ 6417357 h 6417357"/>
              <a:gd name="connsiteX10" fmla="*/ 0 w 8564137"/>
              <a:gd name="connsiteY10" fmla="*/ 11151 h 6417357"/>
              <a:gd name="connsiteX0" fmla="*/ 0 w 7627435"/>
              <a:gd name="connsiteY0" fmla="*/ 0 h 6417357"/>
              <a:gd name="connsiteX1" fmla="*/ 6336189 w 7627435"/>
              <a:gd name="connsiteY1" fmla="*/ 0 h 6417357"/>
              <a:gd name="connsiteX2" fmla="*/ 6336189 w 7627435"/>
              <a:gd name="connsiteY2" fmla="*/ 888381 h 6417357"/>
              <a:gd name="connsiteX3" fmla="*/ 6521809 w 7627435"/>
              <a:gd name="connsiteY3" fmla="*/ 1074001 h 6417357"/>
              <a:gd name="connsiteX4" fmla="*/ 7264268 w 7627435"/>
              <a:gd name="connsiteY4" fmla="*/ 1074001 h 6417357"/>
              <a:gd name="connsiteX5" fmla="*/ 7449888 w 7627435"/>
              <a:gd name="connsiteY5" fmla="*/ 888381 h 6417357"/>
              <a:gd name="connsiteX6" fmla="*/ 7449888 w 7627435"/>
              <a:gd name="connsiteY6" fmla="*/ 0 h 6417357"/>
              <a:gd name="connsiteX7" fmla="*/ 7627435 w 7627435"/>
              <a:gd name="connsiteY7" fmla="*/ 0 h 6417357"/>
              <a:gd name="connsiteX8" fmla="*/ 7627435 w 7627435"/>
              <a:gd name="connsiteY8" fmla="*/ 6417357 h 6417357"/>
              <a:gd name="connsiteX9" fmla="*/ 0 w 7627435"/>
              <a:gd name="connsiteY9" fmla="*/ 6417357 h 6417357"/>
              <a:gd name="connsiteX10" fmla="*/ 0 w 7627435"/>
              <a:gd name="connsiteY10" fmla="*/ 0 h 6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627435" h="6417357">
                <a:moveTo>
                  <a:pt x="0" y="0"/>
                </a:moveTo>
                <a:lnTo>
                  <a:pt x="6336189" y="0"/>
                </a:lnTo>
                <a:lnTo>
                  <a:pt x="6336189" y="888381"/>
                </a:lnTo>
                <a:cubicBezTo>
                  <a:pt x="6336189" y="990896"/>
                  <a:pt x="6419294" y="1074001"/>
                  <a:pt x="6521809" y="1074001"/>
                </a:cubicBezTo>
                <a:lnTo>
                  <a:pt x="7264268" y="1074001"/>
                </a:lnTo>
                <a:cubicBezTo>
                  <a:pt x="7366783" y="1074001"/>
                  <a:pt x="7449888" y="990896"/>
                  <a:pt x="7449888" y="888381"/>
                </a:cubicBezTo>
                <a:lnTo>
                  <a:pt x="7449888" y="0"/>
                </a:lnTo>
                <a:lnTo>
                  <a:pt x="7627435" y="0"/>
                </a:lnTo>
                <a:lnTo>
                  <a:pt x="7627435" y="6417357"/>
                </a:lnTo>
                <a:lnTo>
                  <a:pt x="0" y="6417357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 anchorCtr="1">
            <a:noAutofit/>
          </a:bodyPr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r>
              <a:rPr lang="en-US"/>
              <a:t>[CLICK TO CHANGE IMAGE]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79D097D2-F148-A7E0-FF2B-2E5DE1CDB92B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172031"/>
            <a:ext cx="3496401" cy="30776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53300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7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 34">
            <a:extLst>
              <a:ext uri="{FF2B5EF4-FFF2-40B4-BE49-F238E27FC236}">
                <a16:creationId xmlns:a16="http://schemas.microsoft.com/office/drawing/2014/main" id="{EFF5B315-5C4E-BC69-2C35-D2433EE0DAE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5904" y="220320"/>
            <a:ext cx="5880506" cy="6425665"/>
          </a:xfrm>
          <a:custGeom>
            <a:avLst/>
            <a:gdLst>
              <a:gd name="connsiteX0" fmla="*/ 0 w 8564138"/>
              <a:gd name="connsiteY0" fmla="*/ 0 h 6414514"/>
              <a:gd name="connsiteX1" fmla="*/ 7272893 w 8564138"/>
              <a:gd name="connsiteY1" fmla="*/ 0 h 6414514"/>
              <a:gd name="connsiteX2" fmla="*/ 7272893 w 8564138"/>
              <a:gd name="connsiteY2" fmla="*/ 888381 h 6414514"/>
              <a:gd name="connsiteX3" fmla="*/ 7458513 w 8564138"/>
              <a:gd name="connsiteY3" fmla="*/ 1074001 h 6414514"/>
              <a:gd name="connsiteX4" fmla="*/ 8200972 w 8564138"/>
              <a:gd name="connsiteY4" fmla="*/ 1074001 h 6414514"/>
              <a:gd name="connsiteX5" fmla="*/ 8386592 w 8564138"/>
              <a:gd name="connsiteY5" fmla="*/ 888381 h 6414514"/>
              <a:gd name="connsiteX6" fmla="*/ 8386592 w 8564138"/>
              <a:gd name="connsiteY6" fmla="*/ 0 h 6414514"/>
              <a:gd name="connsiteX7" fmla="*/ 8564138 w 8564138"/>
              <a:gd name="connsiteY7" fmla="*/ 0 h 6414514"/>
              <a:gd name="connsiteX8" fmla="*/ 8564138 w 8564138"/>
              <a:gd name="connsiteY8" fmla="*/ 6414514 h 6414514"/>
              <a:gd name="connsiteX9" fmla="*/ 0 w 8564138"/>
              <a:gd name="connsiteY9" fmla="*/ 6414514 h 6414514"/>
              <a:gd name="connsiteX0" fmla="*/ 959004 w 8564138"/>
              <a:gd name="connsiteY0" fmla="*/ 0 h 6414514"/>
              <a:gd name="connsiteX1" fmla="*/ 7272893 w 8564138"/>
              <a:gd name="connsiteY1" fmla="*/ 0 h 6414514"/>
              <a:gd name="connsiteX2" fmla="*/ 7272893 w 8564138"/>
              <a:gd name="connsiteY2" fmla="*/ 888381 h 6414514"/>
              <a:gd name="connsiteX3" fmla="*/ 7458513 w 8564138"/>
              <a:gd name="connsiteY3" fmla="*/ 1074001 h 6414514"/>
              <a:gd name="connsiteX4" fmla="*/ 8200972 w 8564138"/>
              <a:gd name="connsiteY4" fmla="*/ 1074001 h 6414514"/>
              <a:gd name="connsiteX5" fmla="*/ 8386592 w 8564138"/>
              <a:gd name="connsiteY5" fmla="*/ 888381 h 6414514"/>
              <a:gd name="connsiteX6" fmla="*/ 8386592 w 8564138"/>
              <a:gd name="connsiteY6" fmla="*/ 0 h 6414514"/>
              <a:gd name="connsiteX7" fmla="*/ 8564138 w 8564138"/>
              <a:gd name="connsiteY7" fmla="*/ 0 h 6414514"/>
              <a:gd name="connsiteX8" fmla="*/ 8564138 w 8564138"/>
              <a:gd name="connsiteY8" fmla="*/ 6414514 h 6414514"/>
              <a:gd name="connsiteX9" fmla="*/ 0 w 8564138"/>
              <a:gd name="connsiteY9" fmla="*/ 6414514 h 6414514"/>
              <a:gd name="connsiteX10" fmla="*/ 959004 w 8564138"/>
              <a:gd name="connsiteY10" fmla="*/ 0 h 6414514"/>
              <a:gd name="connsiteX0" fmla="*/ 11150 w 7616284"/>
              <a:gd name="connsiteY0" fmla="*/ 0 h 6425665"/>
              <a:gd name="connsiteX1" fmla="*/ 6325039 w 7616284"/>
              <a:gd name="connsiteY1" fmla="*/ 0 h 6425665"/>
              <a:gd name="connsiteX2" fmla="*/ 6325039 w 7616284"/>
              <a:gd name="connsiteY2" fmla="*/ 888381 h 6425665"/>
              <a:gd name="connsiteX3" fmla="*/ 6510659 w 7616284"/>
              <a:gd name="connsiteY3" fmla="*/ 1074001 h 6425665"/>
              <a:gd name="connsiteX4" fmla="*/ 7253118 w 7616284"/>
              <a:gd name="connsiteY4" fmla="*/ 1074001 h 6425665"/>
              <a:gd name="connsiteX5" fmla="*/ 7438738 w 7616284"/>
              <a:gd name="connsiteY5" fmla="*/ 888381 h 6425665"/>
              <a:gd name="connsiteX6" fmla="*/ 7438738 w 7616284"/>
              <a:gd name="connsiteY6" fmla="*/ 0 h 6425665"/>
              <a:gd name="connsiteX7" fmla="*/ 7616284 w 7616284"/>
              <a:gd name="connsiteY7" fmla="*/ 0 h 6425665"/>
              <a:gd name="connsiteX8" fmla="*/ 7616284 w 7616284"/>
              <a:gd name="connsiteY8" fmla="*/ 6414514 h 6425665"/>
              <a:gd name="connsiteX9" fmla="*/ 0 w 7616284"/>
              <a:gd name="connsiteY9" fmla="*/ 6425665 h 6425665"/>
              <a:gd name="connsiteX10" fmla="*/ 11150 w 7616284"/>
              <a:gd name="connsiteY10" fmla="*/ 0 h 6425665"/>
              <a:gd name="connsiteX0" fmla="*/ 0 w 7605134"/>
              <a:gd name="connsiteY0" fmla="*/ 0 h 6425665"/>
              <a:gd name="connsiteX1" fmla="*/ 6313889 w 7605134"/>
              <a:gd name="connsiteY1" fmla="*/ 0 h 6425665"/>
              <a:gd name="connsiteX2" fmla="*/ 6313889 w 7605134"/>
              <a:gd name="connsiteY2" fmla="*/ 888381 h 6425665"/>
              <a:gd name="connsiteX3" fmla="*/ 6499509 w 7605134"/>
              <a:gd name="connsiteY3" fmla="*/ 1074001 h 6425665"/>
              <a:gd name="connsiteX4" fmla="*/ 7241968 w 7605134"/>
              <a:gd name="connsiteY4" fmla="*/ 1074001 h 6425665"/>
              <a:gd name="connsiteX5" fmla="*/ 7427588 w 7605134"/>
              <a:gd name="connsiteY5" fmla="*/ 888381 h 6425665"/>
              <a:gd name="connsiteX6" fmla="*/ 7427588 w 7605134"/>
              <a:gd name="connsiteY6" fmla="*/ 0 h 6425665"/>
              <a:gd name="connsiteX7" fmla="*/ 7605134 w 7605134"/>
              <a:gd name="connsiteY7" fmla="*/ 0 h 6425665"/>
              <a:gd name="connsiteX8" fmla="*/ 7605134 w 7605134"/>
              <a:gd name="connsiteY8" fmla="*/ 6414514 h 6425665"/>
              <a:gd name="connsiteX9" fmla="*/ 1725052 w 7605134"/>
              <a:gd name="connsiteY9" fmla="*/ 6425665 h 6425665"/>
              <a:gd name="connsiteX10" fmla="*/ 0 w 7605134"/>
              <a:gd name="connsiteY10" fmla="*/ 0 h 6425665"/>
              <a:gd name="connsiteX0" fmla="*/ 0 w 5880506"/>
              <a:gd name="connsiteY0" fmla="*/ 0 h 6425665"/>
              <a:gd name="connsiteX1" fmla="*/ 4589261 w 5880506"/>
              <a:gd name="connsiteY1" fmla="*/ 0 h 6425665"/>
              <a:gd name="connsiteX2" fmla="*/ 4589261 w 5880506"/>
              <a:gd name="connsiteY2" fmla="*/ 888381 h 6425665"/>
              <a:gd name="connsiteX3" fmla="*/ 4774881 w 5880506"/>
              <a:gd name="connsiteY3" fmla="*/ 1074001 h 6425665"/>
              <a:gd name="connsiteX4" fmla="*/ 5517340 w 5880506"/>
              <a:gd name="connsiteY4" fmla="*/ 1074001 h 6425665"/>
              <a:gd name="connsiteX5" fmla="*/ 5702960 w 5880506"/>
              <a:gd name="connsiteY5" fmla="*/ 888381 h 6425665"/>
              <a:gd name="connsiteX6" fmla="*/ 5702960 w 5880506"/>
              <a:gd name="connsiteY6" fmla="*/ 0 h 6425665"/>
              <a:gd name="connsiteX7" fmla="*/ 5880506 w 5880506"/>
              <a:gd name="connsiteY7" fmla="*/ 0 h 6425665"/>
              <a:gd name="connsiteX8" fmla="*/ 5880506 w 5880506"/>
              <a:gd name="connsiteY8" fmla="*/ 6414514 h 6425665"/>
              <a:gd name="connsiteX9" fmla="*/ 424 w 5880506"/>
              <a:gd name="connsiteY9" fmla="*/ 6425665 h 6425665"/>
              <a:gd name="connsiteX10" fmla="*/ 0 w 5880506"/>
              <a:gd name="connsiteY10" fmla="*/ 0 h 6425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880506" h="6425665">
                <a:moveTo>
                  <a:pt x="0" y="0"/>
                </a:moveTo>
                <a:lnTo>
                  <a:pt x="4589261" y="0"/>
                </a:lnTo>
                <a:lnTo>
                  <a:pt x="4589261" y="888381"/>
                </a:lnTo>
                <a:cubicBezTo>
                  <a:pt x="4589261" y="990896"/>
                  <a:pt x="4672366" y="1074001"/>
                  <a:pt x="4774881" y="1074001"/>
                </a:cubicBezTo>
                <a:lnTo>
                  <a:pt x="5517340" y="1074001"/>
                </a:lnTo>
                <a:cubicBezTo>
                  <a:pt x="5619855" y="1074001"/>
                  <a:pt x="5702960" y="990896"/>
                  <a:pt x="5702960" y="888381"/>
                </a:cubicBezTo>
                <a:lnTo>
                  <a:pt x="5702960" y="0"/>
                </a:lnTo>
                <a:lnTo>
                  <a:pt x="5880506" y="0"/>
                </a:lnTo>
                <a:lnTo>
                  <a:pt x="5880506" y="6414514"/>
                </a:lnTo>
                <a:lnTo>
                  <a:pt x="424" y="6425665"/>
                </a:lnTo>
                <a:cubicBezTo>
                  <a:pt x="424" y="4287494"/>
                  <a:pt x="0" y="2138171"/>
                  <a:pt x="0" y="0"/>
                </a:cubicBezTo>
                <a:close/>
              </a:path>
            </a:pathLst>
          </a:custGeom>
          <a:solidFill>
            <a:srgbClr val="F2F3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AFC95C7-389A-93DE-53BB-D55378F1FB0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972800" y="6511723"/>
            <a:ext cx="66522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t>Page </a:t>
            </a:r>
            <a:fld id="{4ABDCABE-3F10-B64C-92F1-862014417034}" type="slidenum">
              <a:rPr lang="en-US" sz="800" b="0" smtClean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rgbClr val="2D2D2D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BB8B85-9742-80BF-9A5F-5708F9DC2E15}"/>
              </a:ext>
            </a:extLst>
          </p:cNvPr>
          <p:cNvSpPr txBox="1"/>
          <p:nvPr userDrawn="1"/>
        </p:nvSpPr>
        <p:spPr>
          <a:xfrm>
            <a:off x="8026400" y="6511723"/>
            <a:ext cx="30353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defTabSz="457200" eaLnBrk="1" latinLnBrk="0" hangingPunct="1">
              <a:defRPr sz="850" spc="-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 eaLnBrk="1" latinLnBrk="0" hangingPunct="1">
              <a:defRPr sz="1800">
                <a:latin typeface="+mn-lt"/>
                <a:cs typeface="+mn-cs"/>
              </a:defRPr>
            </a:lvl2pPr>
            <a:lvl3pPr defTabSz="457200" eaLnBrk="1" latinLnBrk="0" hangingPunct="1">
              <a:defRPr sz="1800">
                <a:latin typeface="+mn-lt"/>
                <a:cs typeface="+mn-cs"/>
              </a:defRPr>
            </a:lvl3pPr>
            <a:lvl4pPr defTabSz="457200" eaLnBrk="1" latinLnBrk="0" hangingPunct="1">
              <a:defRPr sz="1800">
                <a:latin typeface="+mn-lt"/>
                <a:cs typeface="+mn-cs"/>
              </a:defRPr>
            </a:lvl4pPr>
            <a:lvl5pPr defTabSz="457200" eaLnBrk="1" latinLnBrk="0" hangingPunct="1">
              <a:defRPr sz="1800">
                <a:latin typeface="+mn-lt"/>
                <a:cs typeface="+mn-cs"/>
              </a:defRPr>
            </a:lvl5pPr>
            <a:lvl6pPr defTabSz="457200">
              <a:defRPr sz="1800">
                <a:latin typeface="+mn-lt"/>
                <a:cs typeface="+mn-cs"/>
              </a:defRPr>
            </a:lvl6pPr>
            <a:lvl7pPr defTabSz="457200">
              <a:defRPr sz="1800">
                <a:latin typeface="+mn-lt"/>
                <a:cs typeface="+mn-cs"/>
              </a:defRPr>
            </a:lvl7pPr>
            <a:lvl8pPr defTabSz="457200">
              <a:defRPr sz="1800">
                <a:latin typeface="+mn-lt"/>
                <a:cs typeface="+mn-cs"/>
              </a:defRPr>
            </a:lvl8pPr>
            <a:lvl9pPr defTabSz="457200">
              <a:defRPr sz="1800">
                <a:latin typeface="+mn-lt"/>
                <a:cs typeface="+mn-cs"/>
              </a:defRPr>
            </a:lvl9pPr>
          </a:lstStyle>
          <a:p>
            <a:pPr lvl="0" algn="r"/>
            <a:r>
              <a:rPr lang="en-US" sz="800">
                <a:solidFill>
                  <a:srgbClr val="2D2D2D"/>
                </a:solidFill>
                <a:latin typeface="+mn-lt"/>
              </a:rPr>
              <a:t>Palmerston North City Council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071FBAA2-FC3C-8BD4-A4A6-D52101CAF9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753" y="220320"/>
            <a:ext cx="5879657" cy="6417357"/>
          </a:xfrm>
          <a:custGeom>
            <a:avLst/>
            <a:gdLst>
              <a:gd name="connsiteX0" fmla="*/ 0 w 11753386"/>
              <a:gd name="connsiteY0" fmla="*/ 0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  <a:gd name="connsiteX0" fmla="*/ 3189249 w 11753386"/>
              <a:gd name="connsiteY0" fmla="*/ 11151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  <a:gd name="connsiteX10" fmla="*/ 3189249 w 11753386"/>
              <a:gd name="connsiteY10" fmla="*/ 11151 h 6417357"/>
              <a:gd name="connsiteX0" fmla="*/ 0 w 8564137"/>
              <a:gd name="connsiteY0" fmla="*/ 11151 h 6417357"/>
              <a:gd name="connsiteX1" fmla="*/ 7272891 w 8564137"/>
              <a:gd name="connsiteY1" fmla="*/ 0 h 6417357"/>
              <a:gd name="connsiteX2" fmla="*/ 7272891 w 8564137"/>
              <a:gd name="connsiteY2" fmla="*/ 888381 h 6417357"/>
              <a:gd name="connsiteX3" fmla="*/ 7458511 w 8564137"/>
              <a:gd name="connsiteY3" fmla="*/ 1074001 h 6417357"/>
              <a:gd name="connsiteX4" fmla="*/ 8200970 w 8564137"/>
              <a:gd name="connsiteY4" fmla="*/ 1074001 h 6417357"/>
              <a:gd name="connsiteX5" fmla="*/ 8386590 w 8564137"/>
              <a:gd name="connsiteY5" fmla="*/ 888381 h 6417357"/>
              <a:gd name="connsiteX6" fmla="*/ 8386590 w 8564137"/>
              <a:gd name="connsiteY6" fmla="*/ 0 h 6417357"/>
              <a:gd name="connsiteX7" fmla="*/ 8564137 w 8564137"/>
              <a:gd name="connsiteY7" fmla="*/ 0 h 6417357"/>
              <a:gd name="connsiteX8" fmla="*/ 8564137 w 8564137"/>
              <a:gd name="connsiteY8" fmla="*/ 6417357 h 6417357"/>
              <a:gd name="connsiteX9" fmla="*/ 0 w 8564137"/>
              <a:gd name="connsiteY9" fmla="*/ 6417357 h 6417357"/>
              <a:gd name="connsiteX10" fmla="*/ 0 w 8564137"/>
              <a:gd name="connsiteY10" fmla="*/ 11151 h 6417357"/>
              <a:gd name="connsiteX0" fmla="*/ 0 w 8564137"/>
              <a:gd name="connsiteY0" fmla="*/ 11151 h 6417357"/>
              <a:gd name="connsiteX1" fmla="*/ 7272891 w 8564137"/>
              <a:gd name="connsiteY1" fmla="*/ 0 h 6417357"/>
              <a:gd name="connsiteX2" fmla="*/ 7272891 w 8564137"/>
              <a:gd name="connsiteY2" fmla="*/ 888381 h 6417357"/>
              <a:gd name="connsiteX3" fmla="*/ 7458511 w 8564137"/>
              <a:gd name="connsiteY3" fmla="*/ 1074001 h 6417357"/>
              <a:gd name="connsiteX4" fmla="*/ 8200970 w 8564137"/>
              <a:gd name="connsiteY4" fmla="*/ 1074001 h 6417357"/>
              <a:gd name="connsiteX5" fmla="*/ 8386590 w 8564137"/>
              <a:gd name="connsiteY5" fmla="*/ 888381 h 6417357"/>
              <a:gd name="connsiteX6" fmla="*/ 8386590 w 8564137"/>
              <a:gd name="connsiteY6" fmla="*/ 0 h 6417357"/>
              <a:gd name="connsiteX7" fmla="*/ 8564137 w 8564137"/>
              <a:gd name="connsiteY7" fmla="*/ 0 h 6417357"/>
              <a:gd name="connsiteX8" fmla="*/ 8564137 w 8564137"/>
              <a:gd name="connsiteY8" fmla="*/ 6417357 h 6417357"/>
              <a:gd name="connsiteX9" fmla="*/ 936702 w 8564137"/>
              <a:gd name="connsiteY9" fmla="*/ 6417357 h 6417357"/>
              <a:gd name="connsiteX10" fmla="*/ 0 w 8564137"/>
              <a:gd name="connsiteY10" fmla="*/ 11151 h 6417357"/>
              <a:gd name="connsiteX0" fmla="*/ 0 w 7627435"/>
              <a:gd name="connsiteY0" fmla="*/ 0 h 6417357"/>
              <a:gd name="connsiteX1" fmla="*/ 6336189 w 7627435"/>
              <a:gd name="connsiteY1" fmla="*/ 0 h 6417357"/>
              <a:gd name="connsiteX2" fmla="*/ 6336189 w 7627435"/>
              <a:gd name="connsiteY2" fmla="*/ 888381 h 6417357"/>
              <a:gd name="connsiteX3" fmla="*/ 6521809 w 7627435"/>
              <a:gd name="connsiteY3" fmla="*/ 1074001 h 6417357"/>
              <a:gd name="connsiteX4" fmla="*/ 7264268 w 7627435"/>
              <a:gd name="connsiteY4" fmla="*/ 1074001 h 6417357"/>
              <a:gd name="connsiteX5" fmla="*/ 7449888 w 7627435"/>
              <a:gd name="connsiteY5" fmla="*/ 888381 h 6417357"/>
              <a:gd name="connsiteX6" fmla="*/ 7449888 w 7627435"/>
              <a:gd name="connsiteY6" fmla="*/ 0 h 6417357"/>
              <a:gd name="connsiteX7" fmla="*/ 7627435 w 7627435"/>
              <a:gd name="connsiteY7" fmla="*/ 0 h 6417357"/>
              <a:gd name="connsiteX8" fmla="*/ 7627435 w 7627435"/>
              <a:gd name="connsiteY8" fmla="*/ 6417357 h 6417357"/>
              <a:gd name="connsiteX9" fmla="*/ 0 w 7627435"/>
              <a:gd name="connsiteY9" fmla="*/ 6417357 h 6417357"/>
              <a:gd name="connsiteX10" fmla="*/ 0 w 7627435"/>
              <a:gd name="connsiteY10" fmla="*/ 0 h 6417357"/>
              <a:gd name="connsiteX0" fmla="*/ 1747778 w 7627435"/>
              <a:gd name="connsiteY0" fmla="*/ 0 h 6417357"/>
              <a:gd name="connsiteX1" fmla="*/ 6336189 w 7627435"/>
              <a:gd name="connsiteY1" fmla="*/ 0 h 6417357"/>
              <a:gd name="connsiteX2" fmla="*/ 6336189 w 7627435"/>
              <a:gd name="connsiteY2" fmla="*/ 888381 h 6417357"/>
              <a:gd name="connsiteX3" fmla="*/ 6521809 w 7627435"/>
              <a:gd name="connsiteY3" fmla="*/ 1074001 h 6417357"/>
              <a:gd name="connsiteX4" fmla="*/ 7264268 w 7627435"/>
              <a:gd name="connsiteY4" fmla="*/ 1074001 h 6417357"/>
              <a:gd name="connsiteX5" fmla="*/ 7449888 w 7627435"/>
              <a:gd name="connsiteY5" fmla="*/ 888381 h 6417357"/>
              <a:gd name="connsiteX6" fmla="*/ 7449888 w 7627435"/>
              <a:gd name="connsiteY6" fmla="*/ 0 h 6417357"/>
              <a:gd name="connsiteX7" fmla="*/ 7627435 w 7627435"/>
              <a:gd name="connsiteY7" fmla="*/ 0 h 6417357"/>
              <a:gd name="connsiteX8" fmla="*/ 7627435 w 7627435"/>
              <a:gd name="connsiteY8" fmla="*/ 6417357 h 6417357"/>
              <a:gd name="connsiteX9" fmla="*/ 0 w 7627435"/>
              <a:gd name="connsiteY9" fmla="*/ 6417357 h 6417357"/>
              <a:gd name="connsiteX10" fmla="*/ 1747778 w 7627435"/>
              <a:gd name="connsiteY10" fmla="*/ 0 h 6417357"/>
              <a:gd name="connsiteX0" fmla="*/ 0 w 5879657"/>
              <a:gd name="connsiteY0" fmla="*/ 0 h 6417357"/>
              <a:gd name="connsiteX1" fmla="*/ 4588411 w 5879657"/>
              <a:gd name="connsiteY1" fmla="*/ 0 h 6417357"/>
              <a:gd name="connsiteX2" fmla="*/ 4588411 w 5879657"/>
              <a:gd name="connsiteY2" fmla="*/ 888381 h 6417357"/>
              <a:gd name="connsiteX3" fmla="*/ 4774031 w 5879657"/>
              <a:gd name="connsiteY3" fmla="*/ 1074001 h 6417357"/>
              <a:gd name="connsiteX4" fmla="*/ 5516490 w 5879657"/>
              <a:gd name="connsiteY4" fmla="*/ 1074001 h 6417357"/>
              <a:gd name="connsiteX5" fmla="*/ 5702110 w 5879657"/>
              <a:gd name="connsiteY5" fmla="*/ 888381 h 6417357"/>
              <a:gd name="connsiteX6" fmla="*/ 5702110 w 5879657"/>
              <a:gd name="connsiteY6" fmla="*/ 0 h 6417357"/>
              <a:gd name="connsiteX7" fmla="*/ 5879657 w 5879657"/>
              <a:gd name="connsiteY7" fmla="*/ 0 h 6417357"/>
              <a:gd name="connsiteX8" fmla="*/ 5879657 w 5879657"/>
              <a:gd name="connsiteY8" fmla="*/ 6417357 h 6417357"/>
              <a:gd name="connsiteX9" fmla="*/ 11574 w 5879657"/>
              <a:gd name="connsiteY9" fmla="*/ 6417357 h 6417357"/>
              <a:gd name="connsiteX10" fmla="*/ 0 w 5879657"/>
              <a:gd name="connsiteY10" fmla="*/ 0 h 6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879657" h="6417357">
                <a:moveTo>
                  <a:pt x="0" y="0"/>
                </a:moveTo>
                <a:lnTo>
                  <a:pt x="4588411" y="0"/>
                </a:lnTo>
                <a:lnTo>
                  <a:pt x="4588411" y="888381"/>
                </a:lnTo>
                <a:cubicBezTo>
                  <a:pt x="4588411" y="990896"/>
                  <a:pt x="4671516" y="1074001"/>
                  <a:pt x="4774031" y="1074001"/>
                </a:cubicBezTo>
                <a:lnTo>
                  <a:pt x="5516490" y="1074001"/>
                </a:lnTo>
                <a:cubicBezTo>
                  <a:pt x="5619005" y="1074001"/>
                  <a:pt x="5702110" y="990896"/>
                  <a:pt x="5702110" y="888381"/>
                </a:cubicBezTo>
                <a:lnTo>
                  <a:pt x="5702110" y="0"/>
                </a:lnTo>
                <a:lnTo>
                  <a:pt x="5879657" y="0"/>
                </a:lnTo>
                <a:lnTo>
                  <a:pt x="5879657" y="6417357"/>
                </a:lnTo>
                <a:lnTo>
                  <a:pt x="11574" y="6417357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 anchorCtr="1">
            <a:noAutofit/>
          </a:bodyPr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r>
              <a:rPr lang="en-US"/>
              <a:t>[CLICK TO CHANGE IMAGE]</a:t>
            </a: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AE70A0CA-8B30-7399-B59B-2EC9EFB9383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5065776" cy="384721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9D1EA5-7737-DAC7-4110-5C10072B40A1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957728"/>
            <a:ext cx="457200" cy="0"/>
          </a:xfrm>
          <a:prstGeom prst="line">
            <a:avLst/>
          </a:prstGeom>
          <a:noFill/>
          <a:ln w="19050" cap="flat" cmpd="sng" algn="ctr">
            <a:solidFill>
              <a:srgbClr val="08C800"/>
            </a:solidFill>
            <a:prstDash val="solid"/>
          </a:ln>
          <a:effectLst/>
        </p:spPr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40B810AB-C9B3-C330-209A-587A1875A5A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4" y="1428205"/>
            <a:ext cx="5065775" cy="478209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6799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7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 34">
            <a:extLst>
              <a:ext uri="{FF2B5EF4-FFF2-40B4-BE49-F238E27FC236}">
                <a16:creationId xmlns:a16="http://schemas.microsoft.com/office/drawing/2014/main" id="{EFF5B315-5C4E-BC69-2C35-D2433EE0DAE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144623" y="220320"/>
            <a:ext cx="3831787" cy="6425665"/>
          </a:xfrm>
          <a:custGeom>
            <a:avLst/>
            <a:gdLst>
              <a:gd name="connsiteX0" fmla="*/ 0 w 8564138"/>
              <a:gd name="connsiteY0" fmla="*/ 0 h 6414514"/>
              <a:gd name="connsiteX1" fmla="*/ 7272893 w 8564138"/>
              <a:gd name="connsiteY1" fmla="*/ 0 h 6414514"/>
              <a:gd name="connsiteX2" fmla="*/ 7272893 w 8564138"/>
              <a:gd name="connsiteY2" fmla="*/ 888381 h 6414514"/>
              <a:gd name="connsiteX3" fmla="*/ 7458513 w 8564138"/>
              <a:gd name="connsiteY3" fmla="*/ 1074001 h 6414514"/>
              <a:gd name="connsiteX4" fmla="*/ 8200972 w 8564138"/>
              <a:gd name="connsiteY4" fmla="*/ 1074001 h 6414514"/>
              <a:gd name="connsiteX5" fmla="*/ 8386592 w 8564138"/>
              <a:gd name="connsiteY5" fmla="*/ 888381 h 6414514"/>
              <a:gd name="connsiteX6" fmla="*/ 8386592 w 8564138"/>
              <a:gd name="connsiteY6" fmla="*/ 0 h 6414514"/>
              <a:gd name="connsiteX7" fmla="*/ 8564138 w 8564138"/>
              <a:gd name="connsiteY7" fmla="*/ 0 h 6414514"/>
              <a:gd name="connsiteX8" fmla="*/ 8564138 w 8564138"/>
              <a:gd name="connsiteY8" fmla="*/ 6414514 h 6414514"/>
              <a:gd name="connsiteX9" fmla="*/ 0 w 8564138"/>
              <a:gd name="connsiteY9" fmla="*/ 6414514 h 6414514"/>
              <a:gd name="connsiteX0" fmla="*/ 959004 w 8564138"/>
              <a:gd name="connsiteY0" fmla="*/ 0 h 6414514"/>
              <a:gd name="connsiteX1" fmla="*/ 7272893 w 8564138"/>
              <a:gd name="connsiteY1" fmla="*/ 0 h 6414514"/>
              <a:gd name="connsiteX2" fmla="*/ 7272893 w 8564138"/>
              <a:gd name="connsiteY2" fmla="*/ 888381 h 6414514"/>
              <a:gd name="connsiteX3" fmla="*/ 7458513 w 8564138"/>
              <a:gd name="connsiteY3" fmla="*/ 1074001 h 6414514"/>
              <a:gd name="connsiteX4" fmla="*/ 8200972 w 8564138"/>
              <a:gd name="connsiteY4" fmla="*/ 1074001 h 6414514"/>
              <a:gd name="connsiteX5" fmla="*/ 8386592 w 8564138"/>
              <a:gd name="connsiteY5" fmla="*/ 888381 h 6414514"/>
              <a:gd name="connsiteX6" fmla="*/ 8386592 w 8564138"/>
              <a:gd name="connsiteY6" fmla="*/ 0 h 6414514"/>
              <a:gd name="connsiteX7" fmla="*/ 8564138 w 8564138"/>
              <a:gd name="connsiteY7" fmla="*/ 0 h 6414514"/>
              <a:gd name="connsiteX8" fmla="*/ 8564138 w 8564138"/>
              <a:gd name="connsiteY8" fmla="*/ 6414514 h 6414514"/>
              <a:gd name="connsiteX9" fmla="*/ 0 w 8564138"/>
              <a:gd name="connsiteY9" fmla="*/ 6414514 h 6414514"/>
              <a:gd name="connsiteX10" fmla="*/ 959004 w 8564138"/>
              <a:gd name="connsiteY10" fmla="*/ 0 h 6414514"/>
              <a:gd name="connsiteX0" fmla="*/ 11150 w 7616284"/>
              <a:gd name="connsiteY0" fmla="*/ 0 h 6425665"/>
              <a:gd name="connsiteX1" fmla="*/ 6325039 w 7616284"/>
              <a:gd name="connsiteY1" fmla="*/ 0 h 6425665"/>
              <a:gd name="connsiteX2" fmla="*/ 6325039 w 7616284"/>
              <a:gd name="connsiteY2" fmla="*/ 888381 h 6425665"/>
              <a:gd name="connsiteX3" fmla="*/ 6510659 w 7616284"/>
              <a:gd name="connsiteY3" fmla="*/ 1074001 h 6425665"/>
              <a:gd name="connsiteX4" fmla="*/ 7253118 w 7616284"/>
              <a:gd name="connsiteY4" fmla="*/ 1074001 h 6425665"/>
              <a:gd name="connsiteX5" fmla="*/ 7438738 w 7616284"/>
              <a:gd name="connsiteY5" fmla="*/ 888381 h 6425665"/>
              <a:gd name="connsiteX6" fmla="*/ 7438738 w 7616284"/>
              <a:gd name="connsiteY6" fmla="*/ 0 h 6425665"/>
              <a:gd name="connsiteX7" fmla="*/ 7616284 w 7616284"/>
              <a:gd name="connsiteY7" fmla="*/ 0 h 6425665"/>
              <a:gd name="connsiteX8" fmla="*/ 7616284 w 7616284"/>
              <a:gd name="connsiteY8" fmla="*/ 6414514 h 6425665"/>
              <a:gd name="connsiteX9" fmla="*/ 0 w 7616284"/>
              <a:gd name="connsiteY9" fmla="*/ 6425665 h 6425665"/>
              <a:gd name="connsiteX10" fmla="*/ 11150 w 7616284"/>
              <a:gd name="connsiteY10" fmla="*/ 0 h 6425665"/>
              <a:gd name="connsiteX0" fmla="*/ 0 w 7605134"/>
              <a:gd name="connsiteY0" fmla="*/ 0 h 6425665"/>
              <a:gd name="connsiteX1" fmla="*/ 6313889 w 7605134"/>
              <a:gd name="connsiteY1" fmla="*/ 0 h 6425665"/>
              <a:gd name="connsiteX2" fmla="*/ 6313889 w 7605134"/>
              <a:gd name="connsiteY2" fmla="*/ 888381 h 6425665"/>
              <a:gd name="connsiteX3" fmla="*/ 6499509 w 7605134"/>
              <a:gd name="connsiteY3" fmla="*/ 1074001 h 6425665"/>
              <a:gd name="connsiteX4" fmla="*/ 7241968 w 7605134"/>
              <a:gd name="connsiteY4" fmla="*/ 1074001 h 6425665"/>
              <a:gd name="connsiteX5" fmla="*/ 7427588 w 7605134"/>
              <a:gd name="connsiteY5" fmla="*/ 888381 h 6425665"/>
              <a:gd name="connsiteX6" fmla="*/ 7427588 w 7605134"/>
              <a:gd name="connsiteY6" fmla="*/ 0 h 6425665"/>
              <a:gd name="connsiteX7" fmla="*/ 7605134 w 7605134"/>
              <a:gd name="connsiteY7" fmla="*/ 0 h 6425665"/>
              <a:gd name="connsiteX8" fmla="*/ 7605134 w 7605134"/>
              <a:gd name="connsiteY8" fmla="*/ 6414514 h 6425665"/>
              <a:gd name="connsiteX9" fmla="*/ 1725052 w 7605134"/>
              <a:gd name="connsiteY9" fmla="*/ 6425665 h 6425665"/>
              <a:gd name="connsiteX10" fmla="*/ 0 w 7605134"/>
              <a:gd name="connsiteY10" fmla="*/ 0 h 6425665"/>
              <a:gd name="connsiteX0" fmla="*/ 0 w 5880506"/>
              <a:gd name="connsiteY0" fmla="*/ 0 h 6425665"/>
              <a:gd name="connsiteX1" fmla="*/ 4589261 w 5880506"/>
              <a:gd name="connsiteY1" fmla="*/ 0 h 6425665"/>
              <a:gd name="connsiteX2" fmla="*/ 4589261 w 5880506"/>
              <a:gd name="connsiteY2" fmla="*/ 888381 h 6425665"/>
              <a:gd name="connsiteX3" fmla="*/ 4774881 w 5880506"/>
              <a:gd name="connsiteY3" fmla="*/ 1074001 h 6425665"/>
              <a:gd name="connsiteX4" fmla="*/ 5517340 w 5880506"/>
              <a:gd name="connsiteY4" fmla="*/ 1074001 h 6425665"/>
              <a:gd name="connsiteX5" fmla="*/ 5702960 w 5880506"/>
              <a:gd name="connsiteY5" fmla="*/ 888381 h 6425665"/>
              <a:gd name="connsiteX6" fmla="*/ 5702960 w 5880506"/>
              <a:gd name="connsiteY6" fmla="*/ 0 h 6425665"/>
              <a:gd name="connsiteX7" fmla="*/ 5880506 w 5880506"/>
              <a:gd name="connsiteY7" fmla="*/ 0 h 6425665"/>
              <a:gd name="connsiteX8" fmla="*/ 5880506 w 5880506"/>
              <a:gd name="connsiteY8" fmla="*/ 6414514 h 6425665"/>
              <a:gd name="connsiteX9" fmla="*/ 424 w 5880506"/>
              <a:gd name="connsiteY9" fmla="*/ 6425665 h 6425665"/>
              <a:gd name="connsiteX10" fmla="*/ 0 w 5880506"/>
              <a:gd name="connsiteY10" fmla="*/ 0 h 6425665"/>
              <a:gd name="connsiteX0" fmla="*/ 2048295 w 5880082"/>
              <a:gd name="connsiteY0" fmla="*/ 11575 h 6425665"/>
              <a:gd name="connsiteX1" fmla="*/ 4588837 w 5880082"/>
              <a:gd name="connsiteY1" fmla="*/ 0 h 6425665"/>
              <a:gd name="connsiteX2" fmla="*/ 4588837 w 5880082"/>
              <a:gd name="connsiteY2" fmla="*/ 888381 h 6425665"/>
              <a:gd name="connsiteX3" fmla="*/ 4774457 w 5880082"/>
              <a:gd name="connsiteY3" fmla="*/ 1074001 h 6425665"/>
              <a:gd name="connsiteX4" fmla="*/ 5516916 w 5880082"/>
              <a:gd name="connsiteY4" fmla="*/ 1074001 h 6425665"/>
              <a:gd name="connsiteX5" fmla="*/ 5702536 w 5880082"/>
              <a:gd name="connsiteY5" fmla="*/ 888381 h 6425665"/>
              <a:gd name="connsiteX6" fmla="*/ 5702536 w 5880082"/>
              <a:gd name="connsiteY6" fmla="*/ 0 h 6425665"/>
              <a:gd name="connsiteX7" fmla="*/ 5880082 w 5880082"/>
              <a:gd name="connsiteY7" fmla="*/ 0 h 6425665"/>
              <a:gd name="connsiteX8" fmla="*/ 5880082 w 5880082"/>
              <a:gd name="connsiteY8" fmla="*/ 6414514 h 6425665"/>
              <a:gd name="connsiteX9" fmla="*/ 0 w 5880082"/>
              <a:gd name="connsiteY9" fmla="*/ 6425665 h 6425665"/>
              <a:gd name="connsiteX10" fmla="*/ 2048295 w 5880082"/>
              <a:gd name="connsiteY10" fmla="*/ 11575 h 6425665"/>
              <a:gd name="connsiteX0" fmla="*/ 0 w 3831787"/>
              <a:gd name="connsiteY0" fmla="*/ 11575 h 6425665"/>
              <a:gd name="connsiteX1" fmla="*/ 2540542 w 3831787"/>
              <a:gd name="connsiteY1" fmla="*/ 0 h 6425665"/>
              <a:gd name="connsiteX2" fmla="*/ 2540542 w 3831787"/>
              <a:gd name="connsiteY2" fmla="*/ 888381 h 6425665"/>
              <a:gd name="connsiteX3" fmla="*/ 2726162 w 3831787"/>
              <a:gd name="connsiteY3" fmla="*/ 1074001 h 6425665"/>
              <a:gd name="connsiteX4" fmla="*/ 3468621 w 3831787"/>
              <a:gd name="connsiteY4" fmla="*/ 1074001 h 6425665"/>
              <a:gd name="connsiteX5" fmla="*/ 3654241 w 3831787"/>
              <a:gd name="connsiteY5" fmla="*/ 888381 h 6425665"/>
              <a:gd name="connsiteX6" fmla="*/ 3654241 w 3831787"/>
              <a:gd name="connsiteY6" fmla="*/ 0 h 6425665"/>
              <a:gd name="connsiteX7" fmla="*/ 3831787 w 3831787"/>
              <a:gd name="connsiteY7" fmla="*/ 0 h 6425665"/>
              <a:gd name="connsiteX8" fmla="*/ 3831787 w 3831787"/>
              <a:gd name="connsiteY8" fmla="*/ 6414514 h 6425665"/>
              <a:gd name="connsiteX9" fmla="*/ 424 w 3831787"/>
              <a:gd name="connsiteY9" fmla="*/ 6425665 h 6425665"/>
              <a:gd name="connsiteX10" fmla="*/ 0 w 3831787"/>
              <a:gd name="connsiteY10" fmla="*/ 11575 h 6425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831787" h="6425665">
                <a:moveTo>
                  <a:pt x="0" y="11575"/>
                </a:moveTo>
                <a:lnTo>
                  <a:pt x="2540542" y="0"/>
                </a:lnTo>
                <a:lnTo>
                  <a:pt x="2540542" y="888381"/>
                </a:lnTo>
                <a:cubicBezTo>
                  <a:pt x="2540542" y="990896"/>
                  <a:pt x="2623647" y="1074001"/>
                  <a:pt x="2726162" y="1074001"/>
                </a:cubicBezTo>
                <a:lnTo>
                  <a:pt x="3468621" y="1074001"/>
                </a:lnTo>
                <a:cubicBezTo>
                  <a:pt x="3571136" y="1074001"/>
                  <a:pt x="3654241" y="990896"/>
                  <a:pt x="3654241" y="888381"/>
                </a:cubicBezTo>
                <a:lnTo>
                  <a:pt x="3654241" y="0"/>
                </a:lnTo>
                <a:lnTo>
                  <a:pt x="3831787" y="0"/>
                </a:lnTo>
                <a:lnTo>
                  <a:pt x="3831787" y="6414514"/>
                </a:lnTo>
                <a:lnTo>
                  <a:pt x="424" y="6425665"/>
                </a:lnTo>
                <a:cubicBezTo>
                  <a:pt x="424" y="4287494"/>
                  <a:pt x="0" y="2149746"/>
                  <a:pt x="0" y="11575"/>
                </a:cubicBezTo>
                <a:close/>
              </a:path>
            </a:pathLst>
          </a:custGeom>
          <a:solidFill>
            <a:srgbClr val="F2F3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AFC95C7-389A-93DE-53BB-D55378F1FB0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972800" y="6511723"/>
            <a:ext cx="66522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t>Page </a:t>
            </a:r>
            <a:fld id="{4ABDCABE-3F10-B64C-92F1-862014417034}" type="slidenum">
              <a:rPr lang="en-US" sz="800" b="0" smtClean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rgbClr val="2D2D2D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BB8B85-9742-80BF-9A5F-5708F9DC2E15}"/>
              </a:ext>
            </a:extLst>
          </p:cNvPr>
          <p:cNvSpPr txBox="1"/>
          <p:nvPr userDrawn="1"/>
        </p:nvSpPr>
        <p:spPr>
          <a:xfrm>
            <a:off x="8026400" y="6511723"/>
            <a:ext cx="30353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defTabSz="457200" eaLnBrk="1" latinLnBrk="0" hangingPunct="1">
              <a:defRPr sz="850" spc="-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 eaLnBrk="1" latinLnBrk="0" hangingPunct="1">
              <a:defRPr sz="1800">
                <a:latin typeface="+mn-lt"/>
                <a:cs typeface="+mn-cs"/>
              </a:defRPr>
            </a:lvl2pPr>
            <a:lvl3pPr defTabSz="457200" eaLnBrk="1" latinLnBrk="0" hangingPunct="1">
              <a:defRPr sz="1800">
                <a:latin typeface="+mn-lt"/>
                <a:cs typeface="+mn-cs"/>
              </a:defRPr>
            </a:lvl3pPr>
            <a:lvl4pPr defTabSz="457200" eaLnBrk="1" latinLnBrk="0" hangingPunct="1">
              <a:defRPr sz="1800">
                <a:latin typeface="+mn-lt"/>
                <a:cs typeface="+mn-cs"/>
              </a:defRPr>
            </a:lvl4pPr>
            <a:lvl5pPr defTabSz="457200" eaLnBrk="1" latinLnBrk="0" hangingPunct="1">
              <a:defRPr sz="1800">
                <a:latin typeface="+mn-lt"/>
                <a:cs typeface="+mn-cs"/>
              </a:defRPr>
            </a:lvl5pPr>
            <a:lvl6pPr defTabSz="457200">
              <a:defRPr sz="1800">
                <a:latin typeface="+mn-lt"/>
                <a:cs typeface="+mn-cs"/>
              </a:defRPr>
            </a:lvl6pPr>
            <a:lvl7pPr defTabSz="457200">
              <a:defRPr sz="1800">
                <a:latin typeface="+mn-lt"/>
                <a:cs typeface="+mn-cs"/>
              </a:defRPr>
            </a:lvl7pPr>
            <a:lvl8pPr defTabSz="457200">
              <a:defRPr sz="1800">
                <a:latin typeface="+mn-lt"/>
                <a:cs typeface="+mn-cs"/>
              </a:defRPr>
            </a:lvl8pPr>
            <a:lvl9pPr defTabSz="457200">
              <a:defRPr sz="1800">
                <a:latin typeface="+mn-lt"/>
                <a:cs typeface="+mn-cs"/>
              </a:defRPr>
            </a:lvl9pPr>
          </a:lstStyle>
          <a:p>
            <a:pPr lvl="0" algn="r"/>
            <a:r>
              <a:rPr lang="en-US" sz="800">
                <a:solidFill>
                  <a:srgbClr val="2D2D2D"/>
                </a:solidFill>
                <a:latin typeface="+mn-lt"/>
              </a:rPr>
              <a:t>Palmerston North City Council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071FBAA2-FC3C-8BD4-A4A6-D52101CAF9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57047" y="220320"/>
            <a:ext cx="3819364" cy="6417357"/>
          </a:xfrm>
          <a:custGeom>
            <a:avLst/>
            <a:gdLst>
              <a:gd name="connsiteX0" fmla="*/ 0 w 11753386"/>
              <a:gd name="connsiteY0" fmla="*/ 0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  <a:gd name="connsiteX0" fmla="*/ 3189249 w 11753386"/>
              <a:gd name="connsiteY0" fmla="*/ 11151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  <a:gd name="connsiteX10" fmla="*/ 3189249 w 11753386"/>
              <a:gd name="connsiteY10" fmla="*/ 11151 h 6417357"/>
              <a:gd name="connsiteX0" fmla="*/ 0 w 8564137"/>
              <a:gd name="connsiteY0" fmla="*/ 11151 h 6417357"/>
              <a:gd name="connsiteX1" fmla="*/ 7272891 w 8564137"/>
              <a:gd name="connsiteY1" fmla="*/ 0 h 6417357"/>
              <a:gd name="connsiteX2" fmla="*/ 7272891 w 8564137"/>
              <a:gd name="connsiteY2" fmla="*/ 888381 h 6417357"/>
              <a:gd name="connsiteX3" fmla="*/ 7458511 w 8564137"/>
              <a:gd name="connsiteY3" fmla="*/ 1074001 h 6417357"/>
              <a:gd name="connsiteX4" fmla="*/ 8200970 w 8564137"/>
              <a:gd name="connsiteY4" fmla="*/ 1074001 h 6417357"/>
              <a:gd name="connsiteX5" fmla="*/ 8386590 w 8564137"/>
              <a:gd name="connsiteY5" fmla="*/ 888381 h 6417357"/>
              <a:gd name="connsiteX6" fmla="*/ 8386590 w 8564137"/>
              <a:gd name="connsiteY6" fmla="*/ 0 h 6417357"/>
              <a:gd name="connsiteX7" fmla="*/ 8564137 w 8564137"/>
              <a:gd name="connsiteY7" fmla="*/ 0 h 6417357"/>
              <a:gd name="connsiteX8" fmla="*/ 8564137 w 8564137"/>
              <a:gd name="connsiteY8" fmla="*/ 6417357 h 6417357"/>
              <a:gd name="connsiteX9" fmla="*/ 0 w 8564137"/>
              <a:gd name="connsiteY9" fmla="*/ 6417357 h 6417357"/>
              <a:gd name="connsiteX10" fmla="*/ 0 w 8564137"/>
              <a:gd name="connsiteY10" fmla="*/ 11151 h 6417357"/>
              <a:gd name="connsiteX0" fmla="*/ 0 w 8564137"/>
              <a:gd name="connsiteY0" fmla="*/ 11151 h 6417357"/>
              <a:gd name="connsiteX1" fmla="*/ 7272891 w 8564137"/>
              <a:gd name="connsiteY1" fmla="*/ 0 h 6417357"/>
              <a:gd name="connsiteX2" fmla="*/ 7272891 w 8564137"/>
              <a:gd name="connsiteY2" fmla="*/ 888381 h 6417357"/>
              <a:gd name="connsiteX3" fmla="*/ 7458511 w 8564137"/>
              <a:gd name="connsiteY3" fmla="*/ 1074001 h 6417357"/>
              <a:gd name="connsiteX4" fmla="*/ 8200970 w 8564137"/>
              <a:gd name="connsiteY4" fmla="*/ 1074001 h 6417357"/>
              <a:gd name="connsiteX5" fmla="*/ 8386590 w 8564137"/>
              <a:gd name="connsiteY5" fmla="*/ 888381 h 6417357"/>
              <a:gd name="connsiteX6" fmla="*/ 8386590 w 8564137"/>
              <a:gd name="connsiteY6" fmla="*/ 0 h 6417357"/>
              <a:gd name="connsiteX7" fmla="*/ 8564137 w 8564137"/>
              <a:gd name="connsiteY7" fmla="*/ 0 h 6417357"/>
              <a:gd name="connsiteX8" fmla="*/ 8564137 w 8564137"/>
              <a:gd name="connsiteY8" fmla="*/ 6417357 h 6417357"/>
              <a:gd name="connsiteX9" fmla="*/ 936702 w 8564137"/>
              <a:gd name="connsiteY9" fmla="*/ 6417357 h 6417357"/>
              <a:gd name="connsiteX10" fmla="*/ 0 w 8564137"/>
              <a:gd name="connsiteY10" fmla="*/ 11151 h 6417357"/>
              <a:gd name="connsiteX0" fmla="*/ 0 w 7627435"/>
              <a:gd name="connsiteY0" fmla="*/ 0 h 6417357"/>
              <a:gd name="connsiteX1" fmla="*/ 6336189 w 7627435"/>
              <a:gd name="connsiteY1" fmla="*/ 0 h 6417357"/>
              <a:gd name="connsiteX2" fmla="*/ 6336189 w 7627435"/>
              <a:gd name="connsiteY2" fmla="*/ 888381 h 6417357"/>
              <a:gd name="connsiteX3" fmla="*/ 6521809 w 7627435"/>
              <a:gd name="connsiteY3" fmla="*/ 1074001 h 6417357"/>
              <a:gd name="connsiteX4" fmla="*/ 7264268 w 7627435"/>
              <a:gd name="connsiteY4" fmla="*/ 1074001 h 6417357"/>
              <a:gd name="connsiteX5" fmla="*/ 7449888 w 7627435"/>
              <a:gd name="connsiteY5" fmla="*/ 888381 h 6417357"/>
              <a:gd name="connsiteX6" fmla="*/ 7449888 w 7627435"/>
              <a:gd name="connsiteY6" fmla="*/ 0 h 6417357"/>
              <a:gd name="connsiteX7" fmla="*/ 7627435 w 7627435"/>
              <a:gd name="connsiteY7" fmla="*/ 0 h 6417357"/>
              <a:gd name="connsiteX8" fmla="*/ 7627435 w 7627435"/>
              <a:gd name="connsiteY8" fmla="*/ 6417357 h 6417357"/>
              <a:gd name="connsiteX9" fmla="*/ 0 w 7627435"/>
              <a:gd name="connsiteY9" fmla="*/ 6417357 h 6417357"/>
              <a:gd name="connsiteX10" fmla="*/ 0 w 7627435"/>
              <a:gd name="connsiteY10" fmla="*/ 0 h 6417357"/>
              <a:gd name="connsiteX0" fmla="*/ 1747778 w 7627435"/>
              <a:gd name="connsiteY0" fmla="*/ 0 h 6417357"/>
              <a:gd name="connsiteX1" fmla="*/ 6336189 w 7627435"/>
              <a:gd name="connsiteY1" fmla="*/ 0 h 6417357"/>
              <a:gd name="connsiteX2" fmla="*/ 6336189 w 7627435"/>
              <a:gd name="connsiteY2" fmla="*/ 888381 h 6417357"/>
              <a:gd name="connsiteX3" fmla="*/ 6521809 w 7627435"/>
              <a:gd name="connsiteY3" fmla="*/ 1074001 h 6417357"/>
              <a:gd name="connsiteX4" fmla="*/ 7264268 w 7627435"/>
              <a:gd name="connsiteY4" fmla="*/ 1074001 h 6417357"/>
              <a:gd name="connsiteX5" fmla="*/ 7449888 w 7627435"/>
              <a:gd name="connsiteY5" fmla="*/ 888381 h 6417357"/>
              <a:gd name="connsiteX6" fmla="*/ 7449888 w 7627435"/>
              <a:gd name="connsiteY6" fmla="*/ 0 h 6417357"/>
              <a:gd name="connsiteX7" fmla="*/ 7627435 w 7627435"/>
              <a:gd name="connsiteY7" fmla="*/ 0 h 6417357"/>
              <a:gd name="connsiteX8" fmla="*/ 7627435 w 7627435"/>
              <a:gd name="connsiteY8" fmla="*/ 6417357 h 6417357"/>
              <a:gd name="connsiteX9" fmla="*/ 0 w 7627435"/>
              <a:gd name="connsiteY9" fmla="*/ 6417357 h 6417357"/>
              <a:gd name="connsiteX10" fmla="*/ 1747778 w 7627435"/>
              <a:gd name="connsiteY10" fmla="*/ 0 h 6417357"/>
              <a:gd name="connsiteX0" fmla="*/ 0 w 5879657"/>
              <a:gd name="connsiteY0" fmla="*/ 0 h 6417357"/>
              <a:gd name="connsiteX1" fmla="*/ 4588411 w 5879657"/>
              <a:gd name="connsiteY1" fmla="*/ 0 h 6417357"/>
              <a:gd name="connsiteX2" fmla="*/ 4588411 w 5879657"/>
              <a:gd name="connsiteY2" fmla="*/ 888381 h 6417357"/>
              <a:gd name="connsiteX3" fmla="*/ 4774031 w 5879657"/>
              <a:gd name="connsiteY3" fmla="*/ 1074001 h 6417357"/>
              <a:gd name="connsiteX4" fmla="*/ 5516490 w 5879657"/>
              <a:gd name="connsiteY4" fmla="*/ 1074001 h 6417357"/>
              <a:gd name="connsiteX5" fmla="*/ 5702110 w 5879657"/>
              <a:gd name="connsiteY5" fmla="*/ 888381 h 6417357"/>
              <a:gd name="connsiteX6" fmla="*/ 5702110 w 5879657"/>
              <a:gd name="connsiteY6" fmla="*/ 0 h 6417357"/>
              <a:gd name="connsiteX7" fmla="*/ 5879657 w 5879657"/>
              <a:gd name="connsiteY7" fmla="*/ 0 h 6417357"/>
              <a:gd name="connsiteX8" fmla="*/ 5879657 w 5879657"/>
              <a:gd name="connsiteY8" fmla="*/ 6417357 h 6417357"/>
              <a:gd name="connsiteX9" fmla="*/ 11574 w 5879657"/>
              <a:gd name="connsiteY9" fmla="*/ 6417357 h 6417357"/>
              <a:gd name="connsiteX10" fmla="*/ 0 w 5879657"/>
              <a:gd name="connsiteY10" fmla="*/ 0 h 6417357"/>
              <a:gd name="connsiteX0" fmla="*/ 1828801 w 5868083"/>
              <a:gd name="connsiteY0" fmla="*/ 0 h 6417357"/>
              <a:gd name="connsiteX1" fmla="*/ 4576837 w 5868083"/>
              <a:gd name="connsiteY1" fmla="*/ 0 h 6417357"/>
              <a:gd name="connsiteX2" fmla="*/ 4576837 w 5868083"/>
              <a:gd name="connsiteY2" fmla="*/ 888381 h 6417357"/>
              <a:gd name="connsiteX3" fmla="*/ 4762457 w 5868083"/>
              <a:gd name="connsiteY3" fmla="*/ 1074001 h 6417357"/>
              <a:gd name="connsiteX4" fmla="*/ 5504916 w 5868083"/>
              <a:gd name="connsiteY4" fmla="*/ 1074001 h 6417357"/>
              <a:gd name="connsiteX5" fmla="*/ 5690536 w 5868083"/>
              <a:gd name="connsiteY5" fmla="*/ 888381 h 6417357"/>
              <a:gd name="connsiteX6" fmla="*/ 5690536 w 5868083"/>
              <a:gd name="connsiteY6" fmla="*/ 0 h 6417357"/>
              <a:gd name="connsiteX7" fmla="*/ 5868083 w 5868083"/>
              <a:gd name="connsiteY7" fmla="*/ 0 h 6417357"/>
              <a:gd name="connsiteX8" fmla="*/ 5868083 w 5868083"/>
              <a:gd name="connsiteY8" fmla="*/ 6417357 h 6417357"/>
              <a:gd name="connsiteX9" fmla="*/ 0 w 5868083"/>
              <a:gd name="connsiteY9" fmla="*/ 6417357 h 6417357"/>
              <a:gd name="connsiteX10" fmla="*/ 1828801 w 5868083"/>
              <a:gd name="connsiteY10" fmla="*/ 0 h 6417357"/>
              <a:gd name="connsiteX0" fmla="*/ 0 w 4039282"/>
              <a:gd name="connsiteY0" fmla="*/ 0 h 6417357"/>
              <a:gd name="connsiteX1" fmla="*/ 2748036 w 4039282"/>
              <a:gd name="connsiteY1" fmla="*/ 0 h 6417357"/>
              <a:gd name="connsiteX2" fmla="*/ 2748036 w 4039282"/>
              <a:gd name="connsiteY2" fmla="*/ 888381 h 6417357"/>
              <a:gd name="connsiteX3" fmla="*/ 2933656 w 4039282"/>
              <a:gd name="connsiteY3" fmla="*/ 1074001 h 6417357"/>
              <a:gd name="connsiteX4" fmla="*/ 3676115 w 4039282"/>
              <a:gd name="connsiteY4" fmla="*/ 1074001 h 6417357"/>
              <a:gd name="connsiteX5" fmla="*/ 3861735 w 4039282"/>
              <a:gd name="connsiteY5" fmla="*/ 888381 h 6417357"/>
              <a:gd name="connsiteX6" fmla="*/ 3861735 w 4039282"/>
              <a:gd name="connsiteY6" fmla="*/ 0 h 6417357"/>
              <a:gd name="connsiteX7" fmla="*/ 4039282 w 4039282"/>
              <a:gd name="connsiteY7" fmla="*/ 0 h 6417357"/>
              <a:gd name="connsiteX8" fmla="*/ 4039282 w 4039282"/>
              <a:gd name="connsiteY8" fmla="*/ 6417357 h 6417357"/>
              <a:gd name="connsiteX9" fmla="*/ 219918 w 4039282"/>
              <a:gd name="connsiteY9" fmla="*/ 6417357 h 6417357"/>
              <a:gd name="connsiteX10" fmla="*/ 0 w 4039282"/>
              <a:gd name="connsiteY10" fmla="*/ 0 h 6417357"/>
              <a:gd name="connsiteX0" fmla="*/ 1 w 3819364"/>
              <a:gd name="connsiteY0" fmla="*/ 0 h 6417357"/>
              <a:gd name="connsiteX1" fmla="*/ 2528118 w 3819364"/>
              <a:gd name="connsiteY1" fmla="*/ 0 h 6417357"/>
              <a:gd name="connsiteX2" fmla="*/ 2528118 w 3819364"/>
              <a:gd name="connsiteY2" fmla="*/ 888381 h 6417357"/>
              <a:gd name="connsiteX3" fmla="*/ 2713738 w 3819364"/>
              <a:gd name="connsiteY3" fmla="*/ 1074001 h 6417357"/>
              <a:gd name="connsiteX4" fmla="*/ 3456197 w 3819364"/>
              <a:gd name="connsiteY4" fmla="*/ 1074001 h 6417357"/>
              <a:gd name="connsiteX5" fmla="*/ 3641817 w 3819364"/>
              <a:gd name="connsiteY5" fmla="*/ 888381 h 6417357"/>
              <a:gd name="connsiteX6" fmla="*/ 3641817 w 3819364"/>
              <a:gd name="connsiteY6" fmla="*/ 0 h 6417357"/>
              <a:gd name="connsiteX7" fmla="*/ 3819364 w 3819364"/>
              <a:gd name="connsiteY7" fmla="*/ 0 h 6417357"/>
              <a:gd name="connsiteX8" fmla="*/ 3819364 w 3819364"/>
              <a:gd name="connsiteY8" fmla="*/ 6417357 h 6417357"/>
              <a:gd name="connsiteX9" fmla="*/ 0 w 3819364"/>
              <a:gd name="connsiteY9" fmla="*/ 6417357 h 6417357"/>
              <a:gd name="connsiteX10" fmla="*/ 1 w 3819364"/>
              <a:gd name="connsiteY10" fmla="*/ 0 h 6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819364" h="6417357">
                <a:moveTo>
                  <a:pt x="1" y="0"/>
                </a:moveTo>
                <a:lnTo>
                  <a:pt x="2528118" y="0"/>
                </a:lnTo>
                <a:lnTo>
                  <a:pt x="2528118" y="888381"/>
                </a:lnTo>
                <a:cubicBezTo>
                  <a:pt x="2528118" y="990896"/>
                  <a:pt x="2611223" y="1074001"/>
                  <a:pt x="2713738" y="1074001"/>
                </a:cubicBezTo>
                <a:lnTo>
                  <a:pt x="3456197" y="1074001"/>
                </a:lnTo>
                <a:cubicBezTo>
                  <a:pt x="3558712" y="1074001"/>
                  <a:pt x="3641817" y="990896"/>
                  <a:pt x="3641817" y="888381"/>
                </a:cubicBezTo>
                <a:lnTo>
                  <a:pt x="3641817" y="0"/>
                </a:lnTo>
                <a:lnTo>
                  <a:pt x="3819364" y="0"/>
                </a:lnTo>
                <a:lnTo>
                  <a:pt x="3819364" y="6417357"/>
                </a:lnTo>
                <a:lnTo>
                  <a:pt x="0" y="6417357"/>
                </a:lnTo>
                <a:cubicBezTo>
                  <a:pt x="0" y="4278238"/>
                  <a:pt x="1" y="2139119"/>
                  <a:pt x="1" y="0"/>
                </a:cubicBezTo>
                <a:close/>
              </a:path>
            </a:pathLst>
          </a:custGeom>
          <a:noFill/>
        </p:spPr>
        <p:txBody>
          <a:bodyPr wrap="square" anchor="ctr" anchorCtr="1">
            <a:noAutofit/>
          </a:bodyPr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r>
              <a:rPr lang="en-US"/>
              <a:t>[CLICK TO CHANGE IMAGE]</a:t>
            </a:r>
          </a:p>
        </p:txBody>
      </p:sp>
      <p:sp>
        <p:nvSpPr>
          <p:cNvPr id="5" name="2. Slide Title">
            <a:extLst>
              <a:ext uri="{FF2B5EF4-FFF2-40B4-BE49-F238E27FC236}">
                <a16:creationId xmlns:a16="http://schemas.microsoft.com/office/drawing/2014/main" id="{85A151E8-50B1-A211-0BD3-6134A9E676F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6967728" cy="384721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DDF2B28-78C2-1565-07DB-EECCE49A25DA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957728"/>
            <a:ext cx="457200" cy="0"/>
          </a:xfrm>
          <a:prstGeom prst="line">
            <a:avLst/>
          </a:prstGeom>
          <a:noFill/>
          <a:ln w="19050" cap="flat" cmpd="sng" algn="ctr">
            <a:solidFill>
              <a:srgbClr val="08C800"/>
            </a:solidFill>
            <a:prstDash val="solid"/>
          </a:ln>
          <a:effectLst/>
        </p:spPr>
      </p:cxn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D4D50A76-BD6C-43B7-CCED-0A695044EDA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4" y="1375953"/>
            <a:ext cx="6967728" cy="483434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114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7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 34">
            <a:extLst>
              <a:ext uri="{FF2B5EF4-FFF2-40B4-BE49-F238E27FC236}">
                <a16:creationId xmlns:a16="http://schemas.microsoft.com/office/drawing/2014/main" id="{EFF5B315-5C4E-BC69-2C35-D2433EE0DAE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873828" y="220320"/>
            <a:ext cx="3102582" cy="6425665"/>
          </a:xfrm>
          <a:custGeom>
            <a:avLst/>
            <a:gdLst>
              <a:gd name="connsiteX0" fmla="*/ 0 w 8564138"/>
              <a:gd name="connsiteY0" fmla="*/ 0 h 6414514"/>
              <a:gd name="connsiteX1" fmla="*/ 7272893 w 8564138"/>
              <a:gd name="connsiteY1" fmla="*/ 0 h 6414514"/>
              <a:gd name="connsiteX2" fmla="*/ 7272893 w 8564138"/>
              <a:gd name="connsiteY2" fmla="*/ 888381 h 6414514"/>
              <a:gd name="connsiteX3" fmla="*/ 7458513 w 8564138"/>
              <a:gd name="connsiteY3" fmla="*/ 1074001 h 6414514"/>
              <a:gd name="connsiteX4" fmla="*/ 8200972 w 8564138"/>
              <a:gd name="connsiteY4" fmla="*/ 1074001 h 6414514"/>
              <a:gd name="connsiteX5" fmla="*/ 8386592 w 8564138"/>
              <a:gd name="connsiteY5" fmla="*/ 888381 h 6414514"/>
              <a:gd name="connsiteX6" fmla="*/ 8386592 w 8564138"/>
              <a:gd name="connsiteY6" fmla="*/ 0 h 6414514"/>
              <a:gd name="connsiteX7" fmla="*/ 8564138 w 8564138"/>
              <a:gd name="connsiteY7" fmla="*/ 0 h 6414514"/>
              <a:gd name="connsiteX8" fmla="*/ 8564138 w 8564138"/>
              <a:gd name="connsiteY8" fmla="*/ 6414514 h 6414514"/>
              <a:gd name="connsiteX9" fmla="*/ 0 w 8564138"/>
              <a:gd name="connsiteY9" fmla="*/ 6414514 h 6414514"/>
              <a:gd name="connsiteX0" fmla="*/ 959004 w 8564138"/>
              <a:gd name="connsiteY0" fmla="*/ 0 h 6414514"/>
              <a:gd name="connsiteX1" fmla="*/ 7272893 w 8564138"/>
              <a:gd name="connsiteY1" fmla="*/ 0 h 6414514"/>
              <a:gd name="connsiteX2" fmla="*/ 7272893 w 8564138"/>
              <a:gd name="connsiteY2" fmla="*/ 888381 h 6414514"/>
              <a:gd name="connsiteX3" fmla="*/ 7458513 w 8564138"/>
              <a:gd name="connsiteY3" fmla="*/ 1074001 h 6414514"/>
              <a:gd name="connsiteX4" fmla="*/ 8200972 w 8564138"/>
              <a:gd name="connsiteY4" fmla="*/ 1074001 h 6414514"/>
              <a:gd name="connsiteX5" fmla="*/ 8386592 w 8564138"/>
              <a:gd name="connsiteY5" fmla="*/ 888381 h 6414514"/>
              <a:gd name="connsiteX6" fmla="*/ 8386592 w 8564138"/>
              <a:gd name="connsiteY6" fmla="*/ 0 h 6414514"/>
              <a:gd name="connsiteX7" fmla="*/ 8564138 w 8564138"/>
              <a:gd name="connsiteY7" fmla="*/ 0 h 6414514"/>
              <a:gd name="connsiteX8" fmla="*/ 8564138 w 8564138"/>
              <a:gd name="connsiteY8" fmla="*/ 6414514 h 6414514"/>
              <a:gd name="connsiteX9" fmla="*/ 0 w 8564138"/>
              <a:gd name="connsiteY9" fmla="*/ 6414514 h 6414514"/>
              <a:gd name="connsiteX10" fmla="*/ 959004 w 8564138"/>
              <a:gd name="connsiteY10" fmla="*/ 0 h 6414514"/>
              <a:gd name="connsiteX0" fmla="*/ 11150 w 7616284"/>
              <a:gd name="connsiteY0" fmla="*/ 0 h 6425665"/>
              <a:gd name="connsiteX1" fmla="*/ 6325039 w 7616284"/>
              <a:gd name="connsiteY1" fmla="*/ 0 h 6425665"/>
              <a:gd name="connsiteX2" fmla="*/ 6325039 w 7616284"/>
              <a:gd name="connsiteY2" fmla="*/ 888381 h 6425665"/>
              <a:gd name="connsiteX3" fmla="*/ 6510659 w 7616284"/>
              <a:gd name="connsiteY3" fmla="*/ 1074001 h 6425665"/>
              <a:gd name="connsiteX4" fmla="*/ 7253118 w 7616284"/>
              <a:gd name="connsiteY4" fmla="*/ 1074001 h 6425665"/>
              <a:gd name="connsiteX5" fmla="*/ 7438738 w 7616284"/>
              <a:gd name="connsiteY5" fmla="*/ 888381 h 6425665"/>
              <a:gd name="connsiteX6" fmla="*/ 7438738 w 7616284"/>
              <a:gd name="connsiteY6" fmla="*/ 0 h 6425665"/>
              <a:gd name="connsiteX7" fmla="*/ 7616284 w 7616284"/>
              <a:gd name="connsiteY7" fmla="*/ 0 h 6425665"/>
              <a:gd name="connsiteX8" fmla="*/ 7616284 w 7616284"/>
              <a:gd name="connsiteY8" fmla="*/ 6414514 h 6425665"/>
              <a:gd name="connsiteX9" fmla="*/ 0 w 7616284"/>
              <a:gd name="connsiteY9" fmla="*/ 6425665 h 6425665"/>
              <a:gd name="connsiteX10" fmla="*/ 11150 w 7616284"/>
              <a:gd name="connsiteY10" fmla="*/ 0 h 6425665"/>
              <a:gd name="connsiteX0" fmla="*/ 0 w 7605134"/>
              <a:gd name="connsiteY0" fmla="*/ 0 h 6425665"/>
              <a:gd name="connsiteX1" fmla="*/ 6313889 w 7605134"/>
              <a:gd name="connsiteY1" fmla="*/ 0 h 6425665"/>
              <a:gd name="connsiteX2" fmla="*/ 6313889 w 7605134"/>
              <a:gd name="connsiteY2" fmla="*/ 888381 h 6425665"/>
              <a:gd name="connsiteX3" fmla="*/ 6499509 w 7605134"/>
              <a:gd name="connsiteY3" fmla="*/ 1074001 h 6425665"/>
              <a:gd name="connsiteX4" fmla="*/ 7241968 w 7605134"/>
              <a:gd name="connsiteY4" fmla="*/ 1074001 h 6425665"/>
              <a:gd name="connsiteX5" fmla="*/ 7427588 w 7605134"/>
              <a:gd name="connsiteY5" fmla="*/ 888381 h 6425665"/>
              <a:gd name="connsiteX6" fmla="*/ 7427588 w 7605134"/>
              <a:gd name="connsiteY6" fmla="*/ 0 h 6425665"/>
              <a:gd name="connsiteX7" fmla="*/ 7605134 w 7605134"/>
              <a:gd name="connsiteY7" fmla="*/ 0 h 6425665"/>
              <a:gd name="connsiteX8" fmla="*/ 7605134 w 7605134"/>
              <a:gd name="connsiteY8" fmla="*/ 6414514 h 6425665"/>
              <a:gd name="connsiteX9" fmla="*/ 1725052 w 7605134"/>
              <a:gd name="connsiteY9" fmla="*/ 6425665 h 6425665"/>
              <a:gd name="connsiteX10" fmla="*/ 0 w 7605134"/>
              <a:gd name="connsiteY10" fmla="*/ 0 h 6425665"/>
              <a:gd name="connsiteX0" fmla="*/ 0 w 5880506"/>
              <a:gd name="connsiteY0" fmla="*/ 0 h 6425665"/>
              <a:gd name="connsiteX1" fmla="*/ 4589261 w 5880506"/>
              <a:gd name="connsiteY1" fmla="*/ 0 h 6425665"/>
              <a:gd name="connsiteX2" fmla="*/ 4589261 w 5880506"/>
              <a:gd name="connsiteY2" fmla="*/ 888381 h 6425665"/>
              <a:gd name="connsiteX3" fmla="*/ 4774881 w 5880506"/>
              <a:gd name="connsiteY3" fmla="*/ 1074001 h 6425665"/>
              <a:gd name="connsiteX4" fmla="*/ 5517340 w 5880506"/>
              <a:gd name="connsiteY4" fmla="*/ 1074001 h 6425665"/>
              <a:gd name="connsiteX5" fmla="*/ 5702960 w 5880506"/>
              <a:gd name="connsiteY5" fmla="*/ 888381 h 6425665"/>
              <a:gd name="connsiteX6" fmla="*/ 5702960 w 5880506"/>
              <a:gd name="connsiteY6" fmla="*/ 0 h 6425665"/>
              <a:gd name="connsiteX7" fmla="*/ 5880506 w 5880506"/>
              <a:gd name="connsiteY7" fmla="*/ 0 h 6425665"/>
              <a:gd name="connsiteX8" fmla="*/ 5880506 w 5880506"/>
              <a:gd name="connsiteY8" fmla="*/ 6414514 h 6425665"/>
              <a:gd name="connsiteX9" fmla="*/ 424 w 5880506"/>
              <a:gd name="connsiteY9" fmla="*/ 6425665 h 6425665"/>
              <a:gd name="connsiteX10" fmla="*/ 0 w 5880506"/>
              <a:gd name="connsiteY10" fmla="*/ 0 h 6425665"/>
              <a:gd name="connsiteX0" fmla="*/ 2048295 w 5880082"/>
              <a:gd name="connsiteY0" fmla="*/ 11575 h 6425665"/>
              <a:gd name="connsiteX1" fmla="*/ 4588837 w 5880082"/>
              <a:gd name="connsiteY1" fmla="*/ 0 h 6425665"/>
              <a:gd name="connsiteX2" fmla="*/ 4588837 w 5880082"/>
              <a:gd name="connsiteY2" fmla="*/ 888381 h 6425665"/>
              <a:gd name="connsiteX3" fmla="*/ 4774457 w 5880082"/>
              <a:gd name="connsiteY3" fmla="*/ 1074001 h 6425665"/>
              <a:gd name="connsiteX4" fmla="*/ 5516916 w 5880082"/>
              <a:gd name="connsiteY4" fmla="*/ 1074001 h 6425665"/>
              <a:gd name="connsiteX5" fmla="*/ 5702536 w 5880082"/>
              <a:gd name="connsiteY5" fmla="*/ 888381 h 6425665"/>
              <a:gd name="connsiteX6" fmla="*/ 5702536 w 5880082"/>
              <a:gd name="connsiteY6" fmla="*/ 0 h 6425665"/>
              <a:gd name="connsiteX7" fmla="*/ 5880082 w 5880082"/>
              <a:gd name="connsiteY7" fmla="*/ 0 h 6425665"/>
              <a:gd name="connsiteX8" fmla="*/ 5880082 w 5880082"/>
              <a:gd name="connsiteY8" fmla="*/ 6414514 h 6425665"/>
              <a:gd name="connsiteX9" fmla="*/ 0 w 5880082"/>
              <a:gd name="connsiteY9" fmla="*/ 6425665 h 6425665"/>
              <a:gd name="connsiteX10" fmla="*/ 2048295 w 5880082"/>
              <a:gd name="connsiteY10" fmla="*/ 11575 h 6425665"/>
              <a:gd name="connsiteX0" fmla="*/ 0 w 3831787"/>
              <a:gd name="connsiteY0" fmla="*/ 11575 h 6425665"/>
              <a:gd name="connsiteX1" fmla="*/ 2540542 w 3831787"/>
              <a:gd name="connsiteY1" fmla="*/ 0 h 6425665"/>
              <a:gd name="connsiteX2" fmla="*/ 2540542 w 3831787"/>
              <a:gd name="connsiteY2" fmla="*/ 888381 h 6425665"/>
              <a:gd name="connsiteX3" fmla="*/ 2726162 w 3831787"/>
              <a:gd name="connsiteY3" fmla="*/ 1074001 h 6425665"/>
              <a:gd name="connsiteX4" fmla="*/ 3468621 w 3831787"/>
              <a:gd name="connsiteY4" fmla="*/ 1074001 h 6425665"/>
              <a:gd name="connsiteX5" fmla="*/ 3654241 w 3831787"/>
              <a:gd name="connsiteY5" fmla="*/ 888381 h 6425665"/>
              <a:gd name="connsiteX6" fmla="*/ 3654241 w 3831787"/>
              <a:gd name="connsiteY6" fmla="*/ 0 h 6425665"/>
              <a:gd name="connsiteX7" fmla="*/ 3831787 w 3831787"/>
              <a:gd name="connsiteY7" fmla="*/ 0 h 6425665"/>
              <a:gd name="connsiteX8" fmla="*/ 3831787 w 3831787"/>
              <a:gd name="connsiteY8" fmla="*/ 6414514 h 6425665"/>
              <a:gd name="connsiteX9" fmla="*/ 424 w 3831787"/>
              <a:gd name="connsiteY9" fmla="*/ 6425665 h 6425665"/>
              <a:gd name="connsiteX10" fmla="*/ 0 w 3831787"/>
              <a:gd name="connsiteY10" fmla="*/ 11575 h 6425665"/>
              <a:gd name="connsiteX0" fmla="*/ 0 w 3831787"/>
              <a:gd name="connsiteY0" fmla="*/ 11575 h 6425665"/>
              <a:gd name="connsiteX1" fmla="*/ 2540542 w 3831787"/>
              <a:gd name="connsiteY1" fmla="*/ 0 h 6425665"/>
              <a:gd name="connsiteX2" fmla="*/ 2540542 w 3831787"/>
              <a:gd name="connsiteY2" fmla="*/ 888381 h 6425665"/>
              <a:gd name="connsiteX3" fmla="*/ 2726162 w 3831787"/>
              <a:gd name="connsiteY3" fmla="*/ 1074001 h 6425665"/>
              <a:gd name="connsiteX4" fmla="*/ 3468621 w 3831787"/>
              <a:gd name="connsiteY4" fmla="*/ 1074001 h 6425665"/>
              <a:gd name="connsiteX5" fmla="*/ 3654241 w 3831787"/>
              <a:gd name="connsiteY5" fmla="*/ 888381 h 6425665"/>
              <a:gd name="connsiteX6" fmla="*/ 3654241 w 3831787"/>
              <a:gd name="connsiteY6" fmla="*/ 0 h 6425665"/>
              <a:gd name="connsiteX7" fmla="*/ 3831787 w 3831787"/>
              <a:gd name="connsiteY7" fmla="*/ 0 h 6425665"/>
              <a:gd name="connsiteX8" fmla="*/ 3831787 w 3831787"/>
              <a:gd name="connsiteY8" fmla="*/ 6414514 h 6425665"/>
              <a:gd name="connsiteX9" fmla="*/ 1389386 w 3831787"/>
              <a:gd name="connsiteY9" fmla="*/ 6425665 h 6425665"/>
              <a:gd name="connsiteX10" fmla="*/ 0 w 3831787"/>
              <a:gd name="connsiteY10" fmla="*/ 11575 h 6425665"/>
              <a:gd name="connsiteX0" fmla="*/ 11151 w 2442401"/>
              <a:gd name="connsiteY0" fmla="*/ 11575 h 6425665"/>
              <a:gd name="connsiteX1" fmla="*/ 1151156 w 2442401"/>
              <a:gd name="connsiteY1" fmla="*/ 0 h 6425665"/>
              <a:gd name="connsiteX2" fmla="*/ 1151156 w 2442401"/>
              <a:gd name="connsiteY2" fmla="*/ 888381 h 6425665"/>
              <a:gd name="connsiteX3" fmla="*/ 1336776 w 2442401"/>
              <a:gd name="connsiteY3" fmla="*/ 1074001 h 6425665"/>
              <a:gd name="connsiteX4" fmla="*/ 2079235 w 2442401"/>
              <a:gd name="connsiteY4" fmla="*/ 1074001 h 6425665"/>
              <a:gd name="connsiteX5" fmla="*/ 2264855 w 2442401"/>
              <a:gd name="connsiteY5" fmla="*/ 888381 h 6425665"/>
              <a:gd name="connsiteX6" fmla="*/ 2264855 w 2442401"/>
              <a:gd name="connsiteY6" fmla="*/ 0 h 6425665"/>
              <a:gd name="connsiteX7" fmla="*/ 2442401 w 2442401"/>
              <a:gd name="connsiteY7" fmla="*/ 0 h 6425665"/>
              <a:gd name="connsiteX8" fmla="*/ 2442401 w 2442401"/>
              <a:gd name="connsiteY8" fmla="*/ 6414514 h 6425665"/>
              <a:gd name="connsiteX9" fmla="*/ 0 w 2442401"/>
              <a:gd name="connsiteY9" fmla="*/ 6425665 h 6425665"/>
              <a:gd name="connsiteX10" fmla="*/ 11151 w 2442401"/>
              <a:gd name="connsiteY10" fmla="*/ 11575 h 6425665"/>
              <a:gd name="connsiteX0" fmla="*/ 0 w 3102582"/>
              <a:gd name="connsiteY0" fmla="*/ 1 h 6425665"/>
              <a:gd name="connsiteX1" fmla="*/ 1811337 w 3102582"/>
              <a:gd name="connsiteY1" fmla="*/ 0 h 6425665"/>
              <a:gd name="connsiteX2" fmla="*/ 1811337 w 3102582"/>
              <a:gd name="connsiteY2" fmla="*/ 888381 h 6425665"/>
              <a:gd name="connsiteX3" fmla="*/ 1996957 w 3102582"/>
              <a:gd name="connsiteY3" fmla="*/ 1074001 h 6425665"/>
              <a:gd name="connsiteX4" fmla="*/ 2739416 w 3102582"/>
              <a:gd name="connsiteY4" fmla="*/ 1074001 h 6425665"/>
              <a:gd name="connsiteX5" fmla="*/ 2925036 w 3102582"/>
              <a:gd name="connsiteY5" fmla="*/ 888381 h 6425665"/>
              <a:gd name="connsiteX6" fmla="*/ 2925036 w 3102582"/>
              <a:gd name="connsiteY6" fmla="*/ 0 h 6425665"/>
              <a:gd name="connsiteX7" fmla="*/ 3102582 w 3102582"/>
              <a:gd name="connsiteY7" fmla="*/ 0 h 6425665"/>
              <a:gd name="connsiteX8" fmla="*/ 3102582 w 3102582"/>
              <a:gd name="connsiteY8" fmla="*/ 6414514 h 6425665"/>
              <a:gd name="connsiteX9" fmla="*/ 660181 w 3102582"/>
              <a:gd name="connsiteY9" fmla="*/ 6425665 h 6425665"/>
              <a:gd name="connsiteX10" fmla="*/ 0 w 3102582"/>
              <a:gd name="connsiteY10" fmla="*/ 1 h 6425665"/>
              <a:gd name="connsiteX0" fmla="*/ 0 w 3102582"/>
              <a:gd name="connsiteY0" fmla="*/ 1 h 6425665"/>
              <a:gd name="connsiteX1" fmla="*/ 1811337 w 3102582"/>
              <a:gd name="connsiteY1" fmla="*/ 0 h 6425665"/>
              <a:gd name="connsiteX2" fmla="*/ 1811337 w 3102582"/>
              <a:gd name="connsiteY2" fmla="*/ 888381 h 6425665"/>
              <a:gd name="connsiteX3" fmla="*/ 1996957 w 3102582"/>
              <a:gd name="connsiteY3" fmla="*/ 1074001 h 6425665"/>
              <a:gd name="connsiteX4" fmla="*/ 2739416 w 3102582"/>
              <a:gd name="connsiteY4" fmla="*/ 1074001 h 6425665"/>
              <a:gd name="connsiteX5" fmla="*/ 2925036 w 3102582"/>
              <a:gd name="connsiteY5" fmla="*/ 888381 h 6425665"/>
              <a:gd name="connsiteX6" fmla="*/ 2925036 w 3102582"/>
              <a:gd name="connsiteY6" fmla="*/ 0 h 6425665"/>
              <a:gd name="connsiteX7" fmla="*/ 3102582 w 3102582"/>
              <a:gd name="connsiteY7" fmla="*/ 0 h 6425665"/>
              <a:gd name="connsiteX8" fmla="*/ 3102582 w 3102582"/>
              <a:gd name="connsiteY8" fmla="*/ 6414514 h 6425665"/>
              <a:gd name="connsiteX9" fmla="*/ 424 w 3102582"/>
              <a:gd name="connsiteY9" fmla="*/ 6425665 h 6425665"/>
              <a:gd name="connsiteX10" fmla="*/ 0 w 3102582"/>
              <a:gd name="connsiteY10" fmla="*/ 1 h 6425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102582" h="6425665">
                <a:moveTo>
                  <a:pt x="0" y="1"/>
                </a:moveTo>
                <a:lnTo>
                  <a:pt x="1811337" y="0"/>
                </a:lnTo>
                <a:lnTo>
                  <a:pt x="1811337" y="888381"/>
                </a:lnTo>
                <a:cubicBezTo>
                  <a:pt x="1811337" y="990896"/>
                  <a:pt x="1894442" y="1074001"/>
                  <a:pt x="1996957" y="1074001"/>
                </a:cubicBezTo>
                <a:lnTo>
                  <a:pt x="2739416" y="1074001"/>
                </a:lnTo>
                <a:cubicBezTo>
                  <a:pt x="2841931" y="1074001"/>
                  <a:pt x="2925036" y="990896"/>
                  <a:pt x="2925036" y="888381"/>
                </a:cubicBezTo>
                <a:lnTo>
                  <a:pt x="2925036" y="0"/>
                </a:lnTo>
                <a:lnTo>
                  <a:pt x="3102582" y="0"/>
                </a:lnTo>
                <a:lnTo>
                  <a:pt x="3102582" y="6414514"/>
                </a:lnTo>
                <a:lnTo>
                  <a:pt x="424" y="6425665"/>
                </a:lnTo>
                <a:cubicBezTo>
                  <a:pt x="424" y="4287494"/>
                  <a:pt x="0" y="2138172"/>
                  <a:pt x="0" y="1"/>
                </a:cubicBezTo>
                <a:close/>
              </a:path>
            </a:pathLst>
          </a:custGeom>
          <a:solidFill>
            <a:srgbClr val="F2F3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AFC95C7-389A-93DE-53BB-D55378F1FB0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972800" y="6511723"/>
            <a:ext cx="66522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t>Page </a:t>
            </a:r>
            <a:fld id="{4ABDCABE-3F10-B64C-92F1-862014417034}" type="slidenum">
              <a:rPr lang="en-US" sz="800" b="0" smtClean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rgbClr val="2D2D2D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BB8B85-9742-80BF-9A5F-5708F9DC2E15}"/>
              </a:ext>
            </a:extLst>
          </p:cNvPr>
          <p:cNvSpPr txBox="1"/>
          <p:nvPr userDrawn="1"/>
        </p:nvSpPr>
        <p:spPr>
          <a:xfrm>
            <a:off x="8026400" y="6511723"/>
            <a:ext cx="30353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defTabSz="457200" eaLnBrk="1" latinLnBrk="0" hangingPunct="1">
              <a:defRPr sz="850" spc="-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 eaLnBrk="1" latinLnBrk="0" hangingPunct="1">
              <a:defRPr sz="1800">
                <a:latin typeface="+mn-lt"/>
                <a:cs typeface="+mn-cs"/>
              </a:defRPr>
            </a:lvl2pPr>
            <a:lvl3pPr defTabSz="457200" eaLnBrk="1" latinLnBrk="0" hangingPunct="1">
              <a:defRPr sz="1800">
                <a:latin typeface="+mn-lt"/>
                <a:cs typeface="+mn-cs"/>
              </a:defRPr>
            </a:lvl3pPr>
            <a:lvl4pPr defTabSz="457200" eaLnBrk="1" latinLnBrk="0" hangingPunct="1">
              <a:defRPr sz="1800">
                <a:latin typeface="+mn-lt"/>
                <a:cs typeface="+mn-cs"/>
              </a:defRPr>
            </a:lvl4pPr>
            <a:lvl5pPr defTabSz="457200" eaLnBrk="1" latinLnBrk="0" hangingPunct="1">
              <a:defRPr sz="1800">
                <a:latin typeface="+mn-lt"/>
                <a:cs typeface="+mn-cs"/>
              </a:defRPr>
            </a:lvl5pPr>
            <a:lvl6pPr defTabSz="457200">
              <a:defRPr sz="1800">
                <a:latin typeface="+mn-lt"/>
                <a:cs typeface="+mn-cs"/>
              </a:defRPr>
            </a:lvl6pPr>
            <a:lvl7pPr defTabSz="457200">
              <a:defRPr sz="1800">
                <a:latin typeface="+mn-lt"/>
                <a:cs typeface="+mn-cs"/>
              </a:defRPr>
            </a:lvl7pPr>
            <a:lvl8pPr defTabSz="457200">
              <a:defRPr sz="1800">
                <a:latin typeface="+mn-lt"/>
                <a:cs typeface="+mn-cs"/>
              </a:defRPr>
            </a:lvl8pPr>
            <a:lvl9pPr defTabSz="457200">
              <a:defRPr sz="1800">
                <a:latin typeface="+mn-lt"/>
                <a:cs typeface="+mn-cs"/>
              </a:defRPr>
            </a:lvl9pPr>
          </a:lstStyle>
          <a:p>
            <a:pPr lvl="0" algn="r"/>
            <a:r>
              <a:rPr lang="en-US" sz="800">
                <a:solidFill>
                  <a:srgbClr val="2D2D2D"/>
                </a:solidFill>
                <a:latin typeface="+mn-lt"/>
              </a:rPr>
              <a:t>Palmerston North City Council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071FBAA2-FC3C-8BD4-A4A6-D52101CAF9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74676" y="220320"/>
            <a:ext cx="3101734" cy="6417357"/>
          </a:xfrm>
          <a:custGeom>
            <a:avLst/>
            <a:gdLst>
              <a:gd name="connsiteX0" fmla="*/ 0 w 11753386"/>
              <a:gd name="connsiteY0" fmla="*/ 0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  <a:gd name="connsiteX0" fmla="*/ 3189249 w 11753386"/>
              <a:gd name="connsiteY0" fmla="*/ 11151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  <a:gd name="connsiteX10" fmla="*/ 3189249 w 11753386"/>
              <a:gd name="connsiteY10" fmla="*/ 11151 h 6417357"/>
              <a:gd name="connsiteX0" fmla="*/ 0 w 8564137"/>
              <a:gd name="connsiteY0" fmla="*/ 11151 h 6417357"/>
              <a:gd name="connsiteX1" fmla="*/ 7272891 w 8564137"/>
              <a:gd name="connsiteY1" fmla="*/ 0 h 6417357"/>
              <a:gd name="connsiteX2" fmla="*/ 7272891 w 8564137"/>
              <a:gd name="connsiteY2" fmla="*/ 888381 h 6417357"/>
              <a:gd name="connsiteX3" fmla="*/ 7458511 w 8564137"/>
              <a:gd name="connsiteY3" fmla="*/ 1074001 h 6417357"/>
              <a:gd name="connsiteX4" fmla="*/ 8200970 w 8564137"/>
              <a:gd name="connsiteY4" fmla="*/ 1074001 h 6417357"/>
              <a:gd name="connsiteX5" fmla="*/ 8386590 w 8564137"/>
              <a:gd name="connsiteY5" fmla="*/ 888381 h 6417357"/>
              <a:gd name="connsiteX6" fmla="*/ 8386590 w 8564137"/>
              <a:gd name="connsiteY6" fmla="*/ 0 h 6417357"/>
              <a:gd name="connsiteX7" fmla="*/ 8564137 w 8564137"/>
              <a:gd name="connsiteY7" fmla="*/ 0 h 6417357"/>
              <a:gd name="connsiteX8" fmla="*/ 8564137 w 8564137"/>
              <a:gd name="connsiteY8" fmla="*/ 6417357 h 6417357"/>
              <a:gd name="connsiteX9" fmla="*/ 0 w 8564137"/>
              <a:gd name="connsiteY9" fmla="*/ 6417357 h 6417357"/>
              <a:gd name="connsiteX10" fmla="*/ 0 w 8564137"/>
              <a:gd name="connsiteY10" fmla="*/ 11151 h 6417357"/>
              <a:gd name="connsiteX0" fmla="*/ 0 w 8564137"/>
              <a:gd name="connsiteY0" fmla="*/ 11151 h 6417357"/>
              <a:gd name="connsiteX1" fmla="*/ 7272891 w 8564137"/>
              <a:gd name="connsiteY1" fmla="*/ 0 h 6417357"/>
              <a:gd name="connsiteX2" fmla="*/ 7272891 w 8564137"/>
              <a:gd name="connsiteY2" fmla="*/ 888381 h 6417357"/>
              <a:gd name="connsiteX3" fmla="*/ 7458511 w 8564137"/>
              <a:gd name="connsiteY3" fmla="*/ 1074001 h 6417357"/>
              <a:gd name="connsiteX4" fmla="*/ 8200970 w 8564137"/>
              <a:gd name="connsiteY4" fmla="*/ 1074001 h 6417357"/>
              <a:gd name="connsiteX5" fmla="*/ 8386590 w 8564137"/>
              <a:gd name="connsiteY5" fmla="*/ 888381 h 6417357"/>
              <a:gd name="connsiteX6" fmla="*/ 8386590 w 8564137"/>
              <a:gd name="connsiteY6" fmla="*/ 0 h 6417357"/>
              <a:gd name="connsiteX7" fmla="*/ 8564137 w 8564137"/>
              <a:gd name="connsiteY7" fmla="*/ 0 h 6417357"/>
              <a:gd name="connsiteX8" fmla="*/ 8564137 w 8564137"/>
              <a:gd name="connsiteY8" fmla="*/ 6417357 h 6417357"/>
              <a:gd name="connsiteX9" fmla="*/ 936702 w 8564137"/>
              <a:gd name="connsiteY9" fmla="*/ 6417357 h 6417357"/>
              <a:gd name="connsiteX10" fmla="*/ 0 w 8564137"/>
              <a:gd name="connsiteY10" fmla="*/ 11151 h 6417357"/>
              <a:gd name="connsiteX0" fmla="*/ 0 w 7627435"/>
              <a:gd name="connsiteY0" fmla="*/ 0 h 6417357"/>
              <a:gd name="connsiteX1" fmla="*/ 6336189 w 7627435"/>
              <a:gd name="connsiteY1" fmla="*/ 0 h 6417357"/>
              <a:gd name="connsiteX2" fmla="*/ 6336189 w 7627435"/>
              <a:gd name="connsiteY2" fmla="*/ 888381 h 6417357"/>
              <a:gd name="connsiteX3" fmla="*/ 6521809 w 7627435"/>
              <a:gd name="connsiteY3" fmla="*/ 1074001 h 6417357"/>
              <a:gd name="connsiteX4" fmla="*/ 7264268 w 7627435"/>
              <a:gd name="connsiteY4" fmla="*/ 1074001 h 6417357"/>
              <a:gd name="connsiteX5" fmla="*/ 7449888 w 7627435"/>
              <a:gd name="connsiteY5" fmla="*/ 888381 h 6417357"/>
              <a:gd name="connsiteX6" fmla="*/ 7449888 w 7627435"/>
              <a:gd name="connsiteY6" fmla="*/ 0 h 6417357"/>
              <a:gd name="connsiteX7" fmla="*/ 7627435 w 7627435"/>
              <a:gd name="connsiteY7" fmla="*/ 0 h 6417357"/>
              <a:gd name="connsiteX8" fmla="*/ 7627435 w 7627435"/>
              <a:gd name="connsiteY8" fmla="*/ 6417357 h 6417357"/>
              <a:gd name="connsiteX9" fmla="*/ 0 w 7627435"/>
              <a:gd name="connsiteY9" fmla="*/ 6417357 h 6417357"/>
              <a:gd name="connsiteX10" fmla="*/ 0 w 7627435"/>
              <a:gd name="connsiteY10" fmla="*/ 0 h 6417357"/>
              <a:gd name="connsiteX0" fmla="*/ 1747778 w 7627435"/>
              <a:gd name="connsiteY0" fmla="*/ 0 h 6417357"/>
              <a:gd name="connsiteX1" fmla="*/ 6336189 w 7627435"/>
              <a:gd name="connsiteY1" fmla="*/ 0 h 6417357"/>
              <a:gd name="connsiteX2" fmla="*/ 6336189 w 7627435"/>
              <a:gd name="connsiteY2" fmla="*/ 888381 h 6417357"/>
              <a:gd name="connsiteX3" fmla="*/ 6521809 w 7627435"/>
              <a:gd name="connsiteY3" fmla="*/ 1074001 h 6417357"/>
              <a:gd name="connsiteX4" fmla="*/ 7264268 w 7627435"/>
              <a:gd name="connsiteY4" fmla="*/ 1074001 h 6417357"/>
              <a:gd name="connsiteX5" fmla="*/ 7449888 w 7627435"/>
              <a:gd name="connsiteY5" fmla="*/ 888381 h 6417357"/>
              <a:gd name="connsiteX6" fmla="*/ 7449888 w 7627435"/>
              <a:gd name="connsiteY6" fmla="*/ 0 h 6417357"/>
              <a:gd name="connsiteX7" fmla="*/ 7627435 w 7627435"/>
              <a:gd name="connsiteY7" fmla="*/ 0 h 6417357"/>
              <a:gd name="connsiteX8" fmla="*/ 7627435 w 7627435"/>
              <a:gd name="connsiteY8" fmla="*/ 6417357 h 6417357"/>
              <a:gd name="connsiteX9" fmla="*/ 0 w 7627435"/>
              <a:gd name="connsiteY9" fmla="*/ 6417357 h 6417357"/>
              <a:gd name="connsiteX10" fmla="*/ 1747778 w 7627435"/>
              <a:gd name="connsiteY10" fmla="*/ 0 h 6417357"/>
              <a:gd name="connsiteX0" fmla="*/ 0 w 5879657"/>
              <a:gd name="connsiteY0" fmla="*/ 0 h 6417357"/>
              <a:gd name="connsiteX1" fmla="*/ 4588411 w 5879657"/>
              <a:gd name="connsiteY1" fmla="*/ 0 h 6417357"/>
              <a:gd name="connsiteX2" fmla="*/ 4588411 w 5879657"/>
              <a:gd name="connsiteY2" fmla="*/ 888381 h 6417357"/>
              <a:gd name="connsiteX3" fmla="*/ 4774031 w 5879657"/>
              <a:gd name="connsiteY3" fmla="*/ 1074001 h 6417357"/>
              <a:gd name="connsiteX4" fmla="*/ 5516490 w 5879657"/>
              <a:gd name="connsiteY4" fmla="*/ 1074001 h 6417357"/>
              <a:gd name="connsiteX5" fmla="*/ 5702110 w 5879657"/>
              <a:gd name="connsiteY5" fmla="*/ 888381 h 6417357"/>
              <a:gd name="connsiteX6" fmla="*/ 5702110 w 5879657"/>
              <a:gd name="connsiteY6" fmla="*/ 0 h 6417357"/>
              <a:gd name="connsiteX7" fmla="*/ 5879657 w 5879657"/>
              <a:gd name="connsiteY7" fmla="*/ 0 h 6417357"/>
              <a:gd name="connsiteX8" fmla="*/ 5879657 w 5879657"/>
              <a:gd name="connsiteY8" fmla="*/ 6417357 h 6417357"/>
              <a:gd name="connsiteX9" fmla="*/ 11574 w 5879657"/>
              <a:gd name="connsiteY9" fmla="*/ 6417357 h 6417357"/>
              <a:gd name="connsiteX10" fmla="*/ 0 w 5879657"/>
              <a:gd name="connsiteY10" fmla="*/ 0 h 6417357"/>
              <a:gd name="connsiteX0" fmla="*/ 1828801 w 5868083"/>
              <a:gd name="connsiteY0" fmla="*/ 0 h 6417357"/>
              <a:gd name="connsiteX1" fmla="*/ 4576837 w 5868083"/>
              <a:gd name="connsiteY1" fmla="*/ 0 h 6417357"/>
              <a:gd name="connsiteX2" fmla="*/ 4576837 w 5868083"/>
              <a:gd name="connsiteY2" fmla="*/ 888381 h 6417357"/>
              <a:gd name="connsiteX3" fmla="*/ 4762457 w 5868083"/>
              <a:gd name="connsiteY3" fmla="*/ 1074001 h 6417357"/>
              <a:gd name="connsiteX4" fmla="*/ 5504916 w 5868083"/>
              <a:gd name="connsiteY4" fmla="*/ 1074001 h 6417357"/>
              <a:gd name="connsiteX5" fmla="*/ 5690536 w 5868083"/>
              <a:gd name="connsiteY5" fmla="*/ 888381 h 6417357"/>
              <a:gd name="connsiteX6" fmla="*/ 5690536 w 5868083"/>
              <a:gd name="connsiteY6" fmla="*/ 0 h 6417357"/>
              <a:gd name="connsiteX7" fmla="*/ 5868083 w 5868083"/>
              <a:gd name="connsiteY7" fmla="*/ 0 h 6417357"/>
              <a:gd name="connsiteX8" fmla="*/ 5868083 w 5868083"/>
              <a:gd name="connsiteY8" fmla="*/ 6417357 h 6417357"/>
              <a:gd name="connsiteX9" fmla="*/ 0 w 5868083"/>
              <a:gd name="connsiteY9" fmla="*/ 6417357 h 6417357"/>
              <a:gd name="connsiteX10" fmla="*/ 1828801 w 5868083"/>
              <a:gd name="connsiteY10" fmla="*/ 0 h 6417357"/>
              <a:gd name="connsiteX0" fmla="*/ 0 w 4039282"/>
              <a:gd name="connsiteY0" fmla="*/ 0 h 6417357"/>
              <a:gd name="connsiteX1" fmla="*/ 2748036 w 4039282"/>
              <a:gd name="connsiteY1" fmla="*/ 0 h 6417357"/>
              <a:gd name="connsiteX2" fmla="*/ 2748036 w 4039282"/>
              <a:gd name="connsiteY2" fmla="*/ 888381 h 6417357"/>
              <a:gd name="connsiteX3" fmla="*/ 2933656 w 4039282"/>
              <a:gd name="connsiteY3" fmla="*/ 1074001 h 6417357"/>
              <a:gd name="connsiteX4" fmla="*/ 3676115 w 4039282"/>
              <a:gd name="connsiteY4" fmla="*/ 1074001 h 6417357"/>
              <a:gd name="connsiteX5" fmla="*/ 3861735 w 4039282"/>
              <a:gd name="connsiteY5" fmla="*/ 888381 h 6417357"/>
              <a:gd name="connsiteX6" fmla="*/ 3861735 w 4039282"/>
              <a:gd name="connsiteY6" fmla="*/ 0 h 6417357"/>
              <a:gd name="connsiteX7" fmla="*/ 4039282 w 4039282"/>
              <a:gd name="connsiteY7" fmla="*/ 0 h 6417357"/>
              <a:gd name="connsiteX8" fmla="*/ 4039282 w 4039282"/>
              <a:gd name="connsiteY8" fmla="*/ 6417357 h 6417357"/>
              <a:gd name="connsiteX9" fmla="*/ 219918 w 4039282"/>
              <a:gd name="connsiteY9" fmla="*/ 6417357 h 6417357"/>
              <a:gd name="connsiteX10" fmla="*/ 0 w 4039282"/>
              <a:gd name="connsiteY10" fmla="*/ 0 h 6417357"/>
              <a:gd name="connsiteX0" fmla="*/ 1 w 3819364"/>
              <a:gd name="connsiteY0" fmla="*/ 0 h 6417357"/>
              <a:gd name="connsiteX1" fmla="*/ 2528118 w 3819364"/>
              <a:gd name="connsiteY1" fmla="*/ 0 h 6417357"/>
              <a:gd name="connsiteX2" fmla="*/ 2528118 w 3819364"/>
              <a:gd name="connsiteY2" fmla="*/ 888381 h 6417357"/>
              <a:gd name="connsiteX3" fmla="*/ 2713738 w 3819364"/>
              <a:gd name="connsiteY3" fmla="*/ 1074001 h 6417357"/>
              <a:gd name="connsiteX4" fmla="*/ 3456197 w 3819364"/>
              <a:gd name="connsiteY4" fmla="*/ 1074001 h 6417357"/>
              <a:gd name="connsiteX5" fmla="*/ 3641817 w 3819364"/>
              <a:gd name="connsiteY5" fmla="*/ 888381 h 6417357"/>
              <a:gd name="connsiteX6" fmla="*/ 3641817 w 3819364"/>
              <a:gd name="connsiteY6" fmla="*/ 0 h 6417357"/>
              <a:gd name="connsiteX7" fmla="*/ 3819364 w 3819364"/>
              <a:gd name="connsiteY7" fmla="*/ 0 h 6417357"/>
              <a:gd name="connsiteX8" fmla="*/ 3819364 w 3819364"/>
              <a:gd name="connsiteY8" fmla="*/ 6417357 h 6417357"/>
              <a:gd name="connsiteX9" fmla="*/ 0 w 3819364"/>
              <a:gd name="connsiteY9" fmla="*/ 6417357 h 6417357"/>
              <a:gd name="connsiteX10" fmla="*/ 1 w 3819364"/>
              <a:gd name="connsiteY10" fmla="*/ 0 h 6417357"/>
              <a:gd name="connsiteX0" fmla="*/ 1400538 w 3819364"/>
              <a:gd name="connsiteY0" fmla="*/ 0 h 6417357"/>
              <a:gd name="connsiteX1" fmla="*/ 2528118 w 3819364"/>
              <a:gd name="connsiteY1" fmla="*/ 0 h 6417357"/>
              <a:gd name="connsiteX2" fmla="*/ 2528118 w 3819364"/>
              <a:gd name="connsiteY2" fmla="*/ 888381 h 6417357"/>
              <a:gd name="connsiteX3" fmla="*/ 2713738 w 3819364"/>
              <a:gd name="connsiteY3" fmla="*/ 1074001 h 6417357"/>
              <a:gd name="connsiteX4" fmla="*/ 3456197 w 3819364"/>
              <a:gd name="connsiteY4" fmla="*/ 1074001 h 6417357"/>
              <a:gd name="connsiteX5" fmla="*/ 3641817 w 3819364"/>
              <a:gd name="connsiteY5" fmla="*/ 888381 h 6417357"/>
              <a:gd name="connsiteX6" fmla="*/ 3641817 w 3819364"/>
              <a:gd name="connsiteY6" fmla="*/ 0 h 6417357"/>
              <a:gd name="connsiteX7" fmla="*/ 3819364 w 3819364"/>
              <a:gd name="connsiteY7" fmla="*/ 0 h 6417357"/>
              <a:gd name="connsiteX8" fmla="*/ 3819364 w 3819364"/>
              <a:gd name="connsiteY8" fmla="*/ 6417357 h 6417357"/>
              <a:gd name="connsiteX9" fmla="*/ 0 w 3819364"/>
              <a:gd name="connsiteY9" fmla="*/ 6417357 h 6417357"/>
              <a:gd name="connsiteX10" fmla="*/ 1400538 w 3819364"/>
              <a:gd name="connsiteY10" fmla="*/ 0 h 6417357"/>
              <a:gd name="connsiteX0" fmla="*/ 11576 w 2430402"/>
              <a:gd name="connsiteY0" fmla="*/ 0 h 6428931"/>
              <a:gd name="connsiteX1" fmla="*/ 1139156 w 2430402"/>
              <a:gd name="connsiteY1" fmla="*/ 0 h 6428931"/>
              <a:gd name="connsiteX2" fmla="*/ 1139156 w 2430402"/>
              <a:gd name="connsiteY2" fmla="*/ 888381 h 6428931"/>
              <a:gd name="connsiteX3" fmla="*/ 1324776 w 2430402"/>
              <a:gd name="connsiteY3" fmla="*/ 1074001 h 6428931"/>
              <a:gd name="connsiteX4" fmla="*/ 2067235 w 2430402"/>
              <a:gd name="connsiteY4" fmla="*/ 1074001 h 6428931"/>
              <a:gd name="connsiteX5" fmla="*/ 2252855 w 2430402"/>
              <a:gd name="connsiteY5" fmla="*/ 888381 h 6428931"/>
              <a:gd name="connsiteX6" fmla="*/ 2252855 w 2430402"/>
              <a:gd name="connsiteY6" fmla="*/ 0 h 6428931"/>
              <a:gd name="connsiteX7" fmla="*/ 2430402 w 2430402"/>
              <a:gd name="connsiteY7" fmla="*/ 0 h 6428931"/>
              <a:gd name="connsiteX8" fmla="*/ 2430402 w 2430402"/>
              <a:gd name="connsiteY8" fmla="*/ 6417357 h 6428931"/>
              <a:gd name="connsiteX9" fmla="*/ 0 w 2430402"/>
              <a:gd name="connsiteY9" fmla="*/ 6428931 h 6428931"/>
              <a:gd name="connsiteX10" fmla="*/ 11576 w 2430402"/>
              <a:gd name="connsiteY10" fmla="*/ 0 h 6428931"/>
              <a:gd name="connsiteX0" fmla="*/ 0 w 3090157"/>
              <a:gd name="connsiteY0" fmla="*/ 0 h 6428931"/>
              <a:gd name="connsiteX1" fmla="*/ 1798911 w 3090157"/>
              <a:gd name="connsiteY1" fmla="*/ 0 h 6428931"/>
              <a:gd name="connsiteX2" fmla="*/ 1798911 w 3090157"/>
              <a:gd name="connsiteY2" fmla="*/ 888381 h 6428931"/>
              <a:gd name="connsiteX3" fmla="*/ 1984531 w 3090157"/>
              <a:gd name="connsiteY3" fmla="*/ 1074001 h 6428931"/>
              <a:gd name="connsiteX4" fmla="*/ 2726990 w 3090157"/>
              <a:gd name="connsiteY4" fmla="*/ 1074001 h 6428931"/>
              <a:gd name="connsiteX5" fmla="*/ 2912610 w 3090157"/>
              <a:gd name="connsiteY5" fmla="*/ 888381 h 6428931"/>
              <a:gd name="connsiteX6" fmla="*/ 2912610 w 3090157"/>
              <a:gd name="connsiteY6" fmla="*/ 0 h 6428931"/>
              <a:gd name="connsiteX7" fmla="*/ 3090157 w 3090157"/>
              <a:gd name="connsiteY7" fmla="*/ 0 h 6428931"/>
              <a:gd name="connsiteX8" fmla="*/ 3090157 w 3090157"/>
              <a:gd name="connsiteY8" fmla="*/ 6417357 h 6428931"/>
              <a:gd name="connsiteX9" fmla="*/ 659755 w 3090157"/>
              <a:gd name="connsiteY9" fmla="*/ 6428931 h 6428931"/>
              <a:gd name="connsiteX10" fmla="*/ 0 w 3090157"/>
              <a:gd name="connsiteY10" fmla="*/ 0 h 6428931"/>
              <a:gd name="connsiteX0" fmla="*/ 11577 w 3101734"/>
              <a:gd name="connsiteY0" fmla="*/ 0 h 6417357"/>
              <a:gd name="connsiteX1" fmla="*/ 1810488 w 3101734"/>
              <a:gd name="connsiteY1" fmla="*/ 0 h 6417357"/>
              <a:gd name="connsiteX2" fmla="*/ 1810488 w 3101734"/>
              <a:gd name="connsiteY2" fmla="*/ 888381 h 6417357"/>
              <a:gd name="connsiteX3" fmla="*/ 1996108 w 3101734"/>
              <a:gd name="connsiteY3" fmla="*/ 1074001 h 6417357"/>
              <a:gd name="connsiteX4" fmla="*/ 2738567 w 3101734"/>
              <a:gd name="connsiteY4" fmla="*/ 1074001 h 6417357"/>
              <a:gd name="connsiteX5" fmla="*/ 2924187 w 3101734"/>
              <a:gd name="connsiteY5" fmla="*/ 888381 h 6417357"/>
              <a:gd name="connsiteX6" fmla="*/ 2924187 w 3101734"/>
              <a:gd name="connsiteY6" fmla="*/ 0 h 6417357"/>
              <a:gd name="connsiteX7" fmla="*/ 3101734 w 3101734"/>
              <a:gd name="connsiteY7" fmla="*/ 0 h 6417357"/>
              <a:gd name="connsiteX8" fmla="*/ 3101734 w 3101734"/>
              <a:gd name="connsiteY8" fmla="*/ 6417357 h 6417357"/>
              <a:gd name="connsiteX9" fmla="*/ 0 w 3101734"/>
              <a:gd name="connsiteY9" fmla="*/ 6417356 h 6417357"/>
              <a:gd name="connsiteX10" fmla="*/ 11577 w 3101734"/>
              <a:gd name="connsiteY10" fmla="*/ 0 h 6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101734" h="6417357">
                <a:moveTo>
                  <a:pt x="11577" y="0"/>
                </a:moveTo>
                <a:lnTo>
                  <a:pt x="1810488" y="0"/>
                </a:lnTo>
                <a:lnTo>
                  <a:pt x="1810488" y="888381"/>
                </a:lnTo>
                <a:cubicBezTo>
                  <a:pt x="1810488" y="990896"/>
                  <a:pt x="1893593" y="1074001"/>
                  <a:pt x="1996108" y="1074001"/>
                </a:cubicBezTo>
                <a:lnTo>
                  <a:pt x="2738567" y="1074001"/>
                </a:lnTo>
                <a:cubicBezTo>
                  <a:pt x="2841082" y="1074001"/>
                  <a:pt x="2924187" y="990896"/>
                  <a:pt x="2924187" y="888381"/>
                </a:cubicBezTo>
                <a:lnTo>
                  <a:pt x="2924187" y="0"/>
                </a:lnTo>
                <a:lnTo>
                  <a:pt x="3101734" y="0"/>
                </a:lnTo>
                <a:lnTo>
                  <a:pt x="3101734" y="6417357"/>
                </a:lnTo>
                <a:lnTo>
                  <a:pt x="0" y="6417356"/>
                </a:lnTo>
                <a:cubicBezTo>
                  <a:pt x="0" y="4278237"/>
                  <a:pt x="11577" y="2139119"/>
                  <a:pt x="11577" y="0"/>
                </a:cubicBezTo>
                <a:close/>
              </a:path>
            </a:pathLst>
          </a:custGeom>
          <a:noFill/>
        </p:spPr>
        <p:txBody>
          <a:bodyPr wrap="square" anchor="ctr" anchorCtr="1">
            <a:noAutofit/>
          </a:bodyPr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r>
              <a:rPr lang="en-US"/>
              <a:t>[CLICK TO CHANGE IMAGE]</a:t>
            </a: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5CCEE35A-80AA-30D8-D54D-877E42BC1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7918704" cy="384721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E844E7-CDF4-A7EB-6C4F-C36E61EEB941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957728"/>
            <a:ext cx="457200" cy="0"/>
          </a:xfrm>
          <a:prstGeom prst="line">
            <a:avLst/>
          </a:prstGeom>
          <a:noFill/>
          <a:ln w="19050" cap="flat" cmpd="sng" algn="ctr">
            <a:solidFill>
              <a:srgbClr val="08C800"/>
            </a:solidFill>
            <a:prstDash val="solid"/>
          </a:ln>
          <a:effectLst/>
        </p:spPr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4723244A-AE3B-00F0-C7EB-8E1A1696F42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4" y="1105989"/>
            <a:ext cx="7918704" cy="51043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6529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7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68C29A2-1D9F-F141-AF32-E5514C33F8BC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957728"/>
            <a:ext cx="457200" cy="0"/>
          </a:xfrm>
          <a:prstGeom prst="line">
            <a:avLst/>
          </a:prstGeom>
          <a:noFill/>
          <a:ln w="19050" cap="flat" cmpd="sng" algn="ctr">
            <a:solidFill>
              <a:srgbClr val="08C800"/>
            </a:solidFill>
            <a:prstDash val="solid"/>
          </a:ln>
          <a:effectLst/>
        </p:spPr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4E6F7767-1D95-1E68-3F20-322B029758D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972800" y="6511723"/>
            <a:ext cx="66522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t>Page </a:t>
            </a:r>
            <a:fld id="{4ABDCABE-3F10-B64C-92F1-862014417034}" type="slidenum">
              <a:rPr lang="en-US" sz="800" b="0" smtClean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rgbClr val="2D2D2D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E84B60-7CF4-39AB-704B-1E1706F03AAC}"/>
              </a:ext>
            </a:extLst>
          </p:cNvPr>
          <p:cNvSpPr txBox="1"/>
          <p:nvPr userDrawn="1"/>
        </p:nvSpPr>
        <p:spPr>
          <a:xfrm>
            <a:off x="8026400" y="6511723"/>
            <a:ext cx="30353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defTabSz="457200" eaLnBrk="1" latinLnBrk="0" hangingPunct="1">
              <a:defRPr sz="850" spc="-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 eaLnBrk="1" latinLnBrk="0" hangingPunct="1">
              <a:defRPr sz="1800">
                <a:latin typeface="+mn-lt"/>
                <a:cs typeface="+mn-cs"/>
              </a:defRPr>
            </a:lvl2pPr>
            <a:lvl3pPr defTabSz="457200" eaLnBrk="1" latinLnBrk="0" hangingPunct="1">
              <a:defRPr sz="1800">
                <a:latin typeface="+mn-lt"/>
                <a:cs typeface="+mn-cs"/>
              </a:defRPr>
            </a:lvl3pPr>
            <a:lvl4pPr defTabSz="457200" eaLnBrk="1" latinLnBrk="0" hangingPunct="1">
              <a:defRPr sz="1800">
                <a:latin typeface="+mn-lt"/>
                <a:cs typeface="+mn-cs"/>
              </a:defRPr>
            </a:lvl4pPr>
            <a:lvl5pPr defTabSz="457200" eaLnBrk="1" latinLnBrk="0" hangingPunct="1">
              <a:defRPr sz="1800">
                <a:latin typeface="+mn-lt"/>
                <a:cs typeface="+mn-cs"/>
              </a:defRPr>
            </a:lvl5pPr>
            <a:lvl6pPr defTabSz="457200">
              <a:defRPr sz="1800">
                <a:latin typeface="+mn-lt"/>
                <a:cs typeface="+mn-cs"/>
              </a:defRPr>
            </a:lvl6pPr>
            <a:lvl7pPr defTabSz="457200">
              <a:defRPr sz="1800">
                <a:latin typeface="+mn-lt"/>
                <a:cs typeface="+mn-cs"/>
              </a:defRPr>
            </a:lvl7pPr>
            <a:lvl8pPr defTabSz="457200">
              <a:defRPr sz="1800">
                <a:latin typeface="+mn-lt"/>
                <a:cs typeface="+mn-cs"/>
              </a:defRPr>
            </a:lvl8pPr>
            <a:lvl9pPr defTabSz="457200">
              <a:defRPr sz="1800">
                <a:latin typeface="+mn-lt"/>
                <a:cs typeface="+mn-cs"/>
              </a:defRPr>
            </a:lvl9pPr>
          </a:lstStyle>
          <a:p>
            <a:pPr lvl="0" algn="r"/>
            <a:r>
              <a:rPr lang="en-US" sz="800">
                <a:solidFill>
                  <a:srgbClr val="2D2D2D"/>
                </a:solidFill>
                <a:latin typeface="+mn-lt"/>
              </a:rPr>
              <a:t>Palmerston North City Council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1272FDA2-012C-7AA2-0E1E-834029EA69D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4" y="1429429"/>
            <a:ext cx="11080054" cy="478087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1414622B-39D9-4859-B29B-C55411AC9A6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21924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A59DE-C004-4BD7-81C4-230B1E61CB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596489-8830-4188-AC0D-ED6F73BCD9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442008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Cover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964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CDC19A-07C4-1BE3-D000-7FB5F00BD1C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2. Slide Title">
            <a:extLst>
              <a:ext uri="{FF2B5EF4-FFF2-40B4-BE49-F238E27FC236}">
                <a16:creationId xmlns:a16="http://schemas.microsoft.com/office/drawing/2014/main" id="{F98BA4F2-F795-076E-E68F-5A6FF1ECF2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335271"/>
            <a:ext cx="9180576" cy="74417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DE95B560-ECBC-B457-B032-A39C8C4993C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40143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90A48-D200-4E2B-9E7E-FBD556B91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97B077-C702-4F29-875D-5F8185F648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5942718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D6BC31-D86B-4246-9FDE-9D5518837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F9C91B-AD46-49DD-9439-65998309A6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2771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448A8-297A-4A49-8C05-B73DE11CF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3C83B1-E571-44F7-A2D6-3B6E391390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EAAC81-F769-4058-9CE1-37DDEA6D3A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5288773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A4386F-7C21-4721-B4CB-0EF68F610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6C9B67-A06E-4276-A8FD-7E1098DF3D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8091EE-9618-4AC6-BB8E-02E8494F18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EB583A-A050-47B7-9856-0F99D9B7C6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3669D82-4FE1-4E83-969C-B2D908FCC9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8445978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F2026-A9AB-4CD4-A607-7B581F40D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414491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61638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770BF-FE70-4A4C-9694-FA0ADC167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FBDE9F-B282-4A7A-910C-C2E9093FFE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0C5C8D-7628-45D6-A37B-095379E1E6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72365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B54E4-1EC8-461B-8969-253AB89B8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B255A4-88DF-4C1B-8852-3F062510C0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BFC83-75DE-43B1-824C-D4BD0D9153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56416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57A6B-C33E-4C7E-972E-FF15166A9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39C4FD5-8852-4034-BCCE-E4A89FE949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42007585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2153FF-D837-4EEA-916B-6A1D1D54D3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EEBE13-1685-4021-9204-AA52A54F77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1862952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Image with titl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964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C94C4C96-6D50-7A49-04FA-BFCAD39862E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 t="8998" b="8998"/>
          <a:stretch/>
        </p:blipFill>
        <p:spPr>
          <a:xfrm>
            <a:off x="223024" y="220321"/>
            <a:ext cx="11745952" cy="6417357"/>
          </a:xfrm>
          <a:custGeom>
            <a:avLst/>
            <a:gdLst>
              <a:gd name="connsiteX0" fmla="*/ 0 w 11745952"/>
              <a:gd name="connsiteY0" fmla="*/ 0 h 6417357"/>
              <a:gd name="connsiteX1" fmla="*/ 10462141 w 11745952"/>
              <a:gd name="connsiteY1" fmla="*/ 0 h 6417357"/>
              <a:gd name="connsiteX2" fmla="*/ 10462141 w 11745952"/>
              <a:gd name="connsiteY2" fmla="*/ 888380 h 6417357"/>
              <a:gd name="connsiteX3" fmla="*/ 10647761 w 11745952"/>
              <a:gd name="connsiteY3" fmla="*/ 1074000 h 6417357"/>
              <a:gd name="connsiteX4" fmla="*/ 11390220 w 11745952"/>
              <a:gd name="connsiteY4" fmla="*/ 1074000 h 6417357"/>
              <a:gd name="connsiteX5" fmla="*/ 11575840 w 11745952"/>
              <a:gd name="connsiteY5" fmla="*/ 888380 h 6417357"/>
              <a:gd name="connsiteX6" fmla="*/ 11575840 w 11745952"/>
              <a:gd name="connsiteY6" fmla="*/ 0 h 6417357"/>
              <a:gd name="connsiteX7" fmla="*/ 11745952 w 11745952"/>
              <a:gd name="connsiteY7" fmla="*/ 0 h 6417357"/>
              <a:gd name="connsiteX8" fmla="*/ 11745952 w 11745952"/>
              <a:gd name="connsiteY8" fmla="*/ 6417357 h 6417357"/>
              <a:gd name="connsiteX9" fmla="*/ 0 w 11745952"/>
              <a:gd name="connsiteY9" fmla="*/ 6417357 h 6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45952" h="6417357">
                <a:moveTo>
                  <a:pt x="0" y="0"/>
                </a:moveTo>
                <a:lnTo>
                  <a:pt x="10462141" y="0"/>
                </a:lnTo>
                <a:lnTo>
                  <a:pt x="10462141" y="888380"/>
                </a:lnTo>
                <a:cubicBezTo>
                  <a:pt x="10462141" y="990895"/>
                  <a:pt x="10545246" y="1074000"/>
                  <a:pt x="10647761" y="1074000"/>
                </a:cubicBezTo>
                <a:lnTo>
                  <a:pt x="11390220" y="1074000"/>
                </a:lnTo>
                <a:cubicBezTo>
                  <a:pt x="11492735" y="1074000"/>
                  <a:pt x="11575840" y="990895"/>
                  <a:pt x="11575840" y="888380"/>
                </a:cubicBezTo>
                <a:lnTo>
                  <a:pt x="11575840" y="0"/>
                </a:lnTo>
                <a:lnTo>
                  <a:pt x="11745952" y="0"/>
                </a:lnTo>
                <a:lnTo>
                  <a:pt x="11745952" y="6417357"/>
                </a:lnTo>
                <a:lnTo>
                  <a:pt x="0" y="6417357"/>
                </a:lnTo>
                <a:close/>
              </a:path>
            </a:pathLst>
          </a:custGeom>
        </p:spPr>
      </p:pic>
      <p:sp>
        <p:nvSpPr>
          <p:cNvPr id="18" name="Freeform 17">
            <a:extLst>
              <a:ext uri="{FF2B5EF4-FFF2-40B4-BE49-F238E27FC236}">
                <a16:creationId xmlns:a16="http://schemas.microsoft.com/office/drawing/2014/main" id="{6348D43D-D04F-B49C-ECF0-6B80C0F802C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23024" y="220320"/>
            <a:ext cx="11753386" cy="6417357"/>
          </a:xfrm>
          <a:custGeom>
            <a:avLst/>
            <a:gdLst>
              <a:gd name="connsiteX0" fmla="*/ 0 w 11753386"/>
              <a:gd name="connsiteY0" fmla="*/ 0 h 6417357"/>
              <a:gd name="connsiteX1" fmla="*/ 10462140 w 11753386"/>
              <a:gd name="connsiteY1" fmla="*/ 0 h 6417357"/>
              <a:gd name="connsiteX2" fmla="*/ 10462140 w 11753386"/>
              <a:gd name="connsiteY2" fmla="*/ 888381 h 6417357"/>
              <a:gd name="connsiteX3" fmla="*/ 10647760 w 11753386"/>
              <a:gd name="connsiteY3" fmla="*/ 1074001 h 6417357"/>
              <a:gd name="connsiteX4" fmla="*/ 11390219 w 11753386"/>
              <a:gd name="connsiteY4" fmla="*/ 1074001 h 6417357"/>
              <a:gd name="connsiteX5" fmla="*/ 11575839 w 11753386"/>
              <a:gd name="connsiteY5" fmla="*/ 888381 h 6417357"/>
              <a:gd name="connsiteX6" fmla="*/ 11575839 w 11753386"/>
              <a:gd name="connsiteY6" fmla="*/ 0 h 6417357"/>
              <a:gd name="connsiteX7" fmla="*/ 11753386 w 11753386"/>
              <a:gd name="connsiteY7" fmla="*/ 0 h 6417357"/>
              <a:gd name="connsiteX8" fmla="*/ 11753386 w 11753386"/>
              <a:gd name="connsiteY8" fmla="*/ 6417357 h 6417357"/>
              <a:gd name="connsiteX9" fmla="*/ 0 w 11753386"/>
              <a:gd name="connsiteY9" fmla="*/ 6417357 h 6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53386" h="6417357">
                <a:moveTo>
                  <a:pt x="0" y="0"/>
                </a:moveTo>
                <a:lnTo>
                  <a:pt x="10462140" y="0"/>
                </a:lnTo>
                <a:lnTo>
                  <a:pt x="10462140" y="888381"/>
                </a:lnTo>
                <a:cubicBezTo>
                  <a:pt x="10462140" y="990896"/>
                  <a:pt x="10545245" y="1074001"/>
                  <a:pt x="10647760" y="1074001"/>
                </a:cubicBezTo>
                <a:lnTo>
                  <a:pt x="11390219" y="1074001"/>
                </a:lnTo>
                <a:cubicBezTo>
                  <a:pt x="11492734" y="1074001"/>
                  <a:pt x="11575839" y="990896"/>
                  <a:pt x="11575839" y="888381"/>
                </a:cubicBezTo>
                <a:lnTo>
                  <a:pt x="11575839" y="0"/>
                </a:lnTo>
                <a:lnTo>
                  <a:pt x="11753386" y="0"/>
                </a:lnTo>
                <a:lnTo>
                  <a:pt x="11753386" y="6417357"/>
                </a:lnTo>
                <a:lnTo>
                  <a:pt x="0" y="6417357"/>
                </a:lnTo>
                <a:close/>
              </a:path>
            </a:pathLst>
          </a:custGeom>
          <a:noFill/>
        </p:spPr>
        <p:txBody>
          <a:bodyPr wrap="square" anchor="ctr" anchorCtr="1">
            <a:noAutofit/>
          </a:bodyPr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r>
              <a:rPr lang="en-US"/>
              <a:t>[CLICK TO CHANGE IMAGE]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F98BA4F2-F795-076E-E68F-5A6FF1ECF2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47688" y="5521411"/>
            <a:ext cx="10892835" cy="74417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5000"/>
              </a:lnSpc>
              <a:defRPr sz="4800">
                <a:solidFill>
                  <a:schemeClr val="bg1"/>
                </a:solidFill>
                <a:effectLst>
                  <a:glow rad="1220888">
                    <a:schemeClr val="tx1">
                      <a:alpha val="28000"/>
                    </a:schemeClr>
                  </a:glow>
                </a:effectLst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54433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Section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964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D0664A8-79C9-E8E0-2848-AFA3E99A395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2292225F-D0DD-6E9A-AEDF-2B56BD8B81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242232"/>
            <a:ext cx="9180576" cy="837217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3. Subtitle">
            <a:extLst>
              <a:ext uri="{FF2B5EF4-FFF2-40B4-BE49-F238E27FC236}">
                <a16:creationId xmlns:a16="http://schemas.microsoft.com/office/drawing/2014/main" id="{9C1D5628-680A-FA67-4299-8FF574B7680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930277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964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519011"/>
            <a:ext cx="9624727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11725"/>
            <a:ext cx="9624727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b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34187F-AE62-4AAC-08A6-77C7B0C16C9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662113"/>
            <a:ext cx="11151742" cy="46386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2A4706-4FC8-447B-9A5D-F4FAB775B918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957728"/>
            <a:ext cx="457200" cy="0"/>
          </a:xfrm>
          <a:prstGeom prst="line">
            <a:avLst/>
          </a:prstGeom>
          <a:noFill/>
          <a:ln w="19050" cap="flat" cmpd="sng" algn="ctr">
            <a:solidFill>
              <a:srgbClr val="08C8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7385223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lmy Simple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2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4E6F7767-1D95-1E68-3F20-322B029758D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972800" y="6511723"/>
            <a:ext cx="66522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t>Page </a:t>
            </a:r>
            <a:fld id="{4ABDCABE-3F10-B64C-92F1-862014417034}" type="slidenum">
              <a:rPr lang="en-US" sz="800" b="0" smtClean="0">
                <a:solidFill>
                  <a:srgbClr val="2D2D2D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>
              <a:solidFill>
                <a:srgbClr val="2D2D2D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E84B60-7CF4-39AB-704B-1E1706F03AAC}"/>
              </a:ext>
            </a:extLst>
          </p:cNvPr>
          <p:cNvSpPr txBox="1"/>
          <p:nvPr userDrawn="1"/>
        </p:nvSpPr>
        <p:spPr>
          <a:xfrm>
            <a:off x="8026400" y="6511723"/>
            <a:ext cx="30353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defTabSz="457200" eaLnBrk="1" latinLnBrk="0" hangingPunct="1">
              <a:defRPr sz="850" spc="-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 eaLnBrk="1" latinLnBrk="0" hangingPunct="1">
              <a:defRPr sz="1800">
                <a:latin typeface="+mn-lt"/>
                <a:cs typeface="+mn-cs"/>
              </a:defRPr>
            </a:lvl2pPr>
            <a:lvl3pPr defTabSz="457200" eaLnBrk="1" latinLnBrk="0" hangingPunct="1">
              <a:defRPr sz="1800">
                <a:latin typeface="+mn-lt"/>
                <a:cs typeface="+mn-cs"/>
              </a:defRPr>
            </a:lvl3pPr>
            <a:lvl4pPr defTabSz="457200" eaLnBrk="1" latinLnBrk="0" hangingPunct="1">
              <a:defRPr sz="1800">
                <a:latin typeface="+mn-lt"/>
                <a:cs typeface="+mn-cs"/>
              </a:defRPr>
            </a:lvl4pPr>
            <a:lvl5pPr defTabSz="457200" eaLnBrk="1" latinLnBrk="0" hangingPunct="1">
              <a:defRPr sz="1800">
                <a:latin typeface="+mn-lt"/>
                <a:cs typeface="+mn-cs"/>
              </a:defRPr>
            </a:lvl5pPr>
            <a:lvl6pPr defTabSz="457200">
              <a:defRPr sz="1800">
                <a:latin typeface="+mn-lt"/>
                <a:cs typeface="+mn-cs"/>
              </a:defRPr>
            </a:lvl6pPr>
            <a:lvl7pPr defTabSz="457200">
              <a:defRPr sz="1800">
                <a:latin typeface="+mn-lt"/>
                <a:cs typeface="+mn-cs"/>
              </a:defRPr>
            </a:lvl7pPr>
            <a:lvl8pPr defTabSz="457200">
              <a:defRPr sz="1800">
                <a:latin typeface="+mn-lt"/>
                <a:cs typeface="+mn-cs"/>
              </a:defRPr>
            </a:lvl8pPr>
            <a:lvl9pPr defTabSz="457200">
              <a:defRPr sz="1800">
                <a:latin typeface="+mn-lt"/>
                <a:cs typeface="+mn-cs"/>
              </a:defRPr>
            </a:lvl9pPr>
          </a:lstStyle>
          <a:p>
            <a:pPr lvl="0" algn="r"/>
            <a:r>
              <a:rPr lang="en-US" sz="800">
                <a:solidFill>
                  <a:srgbClr val="2D2D2D"/>
                </a:solidFill>
                <a:latin typeface="+mn-lt"/>
              </a:rPr>
              <a:t>Palmerston North City Council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1272FDA2-012C-7AA2-0E1E-834029EA69D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4" y="1429429"/>
            <a:ext cx="11080054" cy="478087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1414622B-39D9-4859-B29B-C55411AC9A6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26115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759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2928693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A35AD95F-0895-F061-0A23-373EADA644E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2798956"/>
            <a:ext cx="11151742" cy="350183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3106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830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1248889-7014-4BD8-DA30-11FC80B191A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5999" y="1662113"/>
            <a:ext cx="5610477" cy="46386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0084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my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97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83288"/>
            <a:ext cx="9180576" cy="49616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2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43624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9" Type="http://schemas.openxmlformats.org/officeDocument/2006/relationships/tags" Target="../tags/tag20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tags" Target="../tags/tag1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12424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000" b="0" i="0" baseline="0">
              <a:solidFill>
                <a:schemeClr val="bg1"/>
              </a:solidFill>
              <a:latin typeface="Recoleta Alt Bold" panose="00000800000000000000"/>
              <a:ea typeface="+mj-ea"/>
              <a:cs typeface="+mj-cs"/>
              <a:sym typeface="Recoleta Alt Bold" panose="0000080000000000000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519011"/>
            <a:ext cx="9286303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554736" y="1325774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6003925" y="2170800"/>
            <a:ext cx="2437655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b="1">
                <a:solidFill>
                  <a:schemeClr val="tx1"/>
                </a:solidFill>
              </a:rPr>
              <a:t>Above Chart Exhibit Title</a:t>
            </a:r>
            <a:br>
              <a:rPr lang="en-US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flipH="1">
            <a:off x="554736" y="2350008"/>
            <a:ext cx="3373100" cy="16927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5655C302-703F-416D-B4F1-712F84050367}"/>
              </a:ext>
            </a:extLst>
          </p:cNvPr>
          <p:cNvGrpSpPr/>
          <p:nvPr/>
        </p:nvGrpSpPr>
        <p:grpSpPr>
          <a:xfrm>
            <a:off x="10317304" y="3304485"/>
            <a:ext cx="1319960" cy="958286"/>
            <a:chOff x="10162879" y="3243772"/>
            <a:chExt cx="1319960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DE2B2C85-9DFA-43F2-B9AD-6897371B06C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2" hidden="1">
              <a:extLst>
                <a:ext uri="{FF2B5EF4-FFF2-40B4-BE49-F238E27FC236}">
                  <a16:creationId xmlns:a16="http://schemas.microsoft.com/office/drawing/2014/main" id="{9637DF4B-CBC9-4C92-A11C-D70AAE4A13CF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egend3" hidden="1">
              <a:extLst>
                <a:ext uri="{FF2B5EF4-FFF2-40B4-BE49-F238E27FC236}">
                  <a16:creationId xmlns:a16="http://schemas.microsoft.com/office/drawing/2014/main" id="{76E194B8-036F-46C3-B0D5-4012D09C8D69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3" name="LineLegend3" hidden="1">
              <a:extLst>
                <a:ext uri="{FF2B5EF4-FFF2-40B4-BE49-F238E27FC236}">
                  <a16:creationId xmlns:a16="http://schemas.microsoft.com/office/drawing/2014/main" id="{EB379858-8FB6-4963-A5CC-C00E58F02D1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4" name="LineLegend2" hidden="1">
              <a:extLst>
                <a:ext uri="{FF2B5EF4-FFF2-40B4-BE49-F238E27FC236}">
                  <a16:creationId xmlns:a16="http://schemas.microsoft.com/office/drawing/2014/main" id="{4AB5A9FD-B12F-4864-99BD-64725ACCE3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6" name="LineLegend1" hidden="1">
              <a:extLst>
                <a:ext uri="{FF2B5EF4-FFF2-40B4-BE49-F238E27FC236}">
                  <a16:creationId xmlns:a16="http://schemas.microsoft.com/office/drawing/2014/main" id="{3081386B-CB47-40E7-8268-5931F6B03A3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57" name="LegendMoons" hidden="1">
            <a:extLst>
              <a:ext uri="{FF2B5EF4-FFF2-40B4-BE49-F238E27FC236}">
                <a16:creationId xmlns:a16="http://schemas.microsoft.com/office/drawing/2014/main" id="{CCCDDF27-ABC0-4520-B62A-21275D63CDB5}"/>
              </a:ext>
            </a:extLst>
          </p:cNvPr>
          <p:cNvGrpSpPr/>
          <p:nvPr/>
        </p:nvGrpSpPr>
        <p:grpSpPr>
          <a:xfrm>
            <a:off x="10688315" y="1326348"/>
            <a:ext cx="948949" cy="1731859"/>
            <a:chOff x="7723680" y="1702457"/>
            <a:chExt cx="948949" cy="1731859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B2A32B3A-4674-4795-8BB2-4A49D392EE0F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2E72FF8A-9732-4CAC-A4C2-486C3261187B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ED0CF43E-1E21-403C-BB4E-6D3D6761524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1" name="Legend4" hidden="1">
              <a:extLst>
                <a:ext uri="{FF2B5EF4-FFF2-40B4-BE49-F238E27FC236}">
                  <a16:creationId xmlns:a16="http://schemas.microsoft.com/office/drawing/2014/main" id="{EB4B8F36-38E2-475A-AD6F-A1F06DECC9FD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2" name="Legend5" hidden="1">
              <a:extLst>
                <a:ext uri="{FF2B5EF4-FFF2-40B4-BE49-F238E27FC236}">
                  <a16:creationId xmlns:a16="http://schemas.microsoft.com/office/drawing/2014/main" id="{F2751DEE-D080-45FD-A784-4B8DAB4E6A0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3" name="MoonLegend1" hidden="1">
              <a:extLst>
                <a:ext uri="{FF2B5EF4-FFF2-40B4-BE49-F238E27FC236}">
                  <a16:creationId xmlns:a16="http://schemas.microsoft.com/office/drawing/2014/main" id="{A2D43060-0CB5-4B78-9524-B868BA3F5F95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7" name="Oval 186" hidden="1">
                <a:extLst>
                  <a:ext uri="{FF2B5EF4-FFF2-40B4-BE49-F238E27FC236}">
                    <a16:creationId xmlns:a16="http://schemas.microsoft.com/office/drawing/2014/main" id="{F756419D-2244-421F-B964-A0F8E6D8D171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Arc 187" hidden="1">
                <a:extLst>
                  <a:ext uri="{FF2B5EF4-FFF2-40B4-BE49-F238E27FC236}">
                    <a16:creationId xmlns:a16="http://schemas.microsoft.com/office/drawing/2014/main" id="{1FC20141-C86B-4B50-88E7-FE277EDB26F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4" name="MoonLegend2" hidden="1">
              <a:extLst>
                <a:ext uri="{FF2B5EF4-FFF2-40B4-BE49-F238E27FC236}">
                  <a16:creationId xmlns:a16="http://schemas.microsoft.com/office/drawing/2014/main" id="{9169E516-7500-4EA5-93A9-939510B9A94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B7B638E6-943C-4B07-8514-8F51D52D541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8C9FF886-86C4-44DA-B444-EE8D056AF14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5" name="MoonLegend3" hidden="1">
              <a:extLst>
                <a:ext uri="{FF2B5EF4-FFF2-40B4-BE49-F238E27FC236}">
                  <a16:creationId xmlns:a16="http://schemas.microsoft.com/office/drawing/2014/main" id="{5EDE0056-714D-48F1-885E-6ADC56758A9B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FC68206D-DA16-47D3-85D2-ED71CAB8511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23BFDA8E-E173-419B-AB11-AE8A5788105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6" name="MoonLegend4" hidden="1">
              <a:extLst>
                <a:ext uri="{FF2B5EF4-FFF2-40B4-BE49-F238E27FC236}">
                  <a16:creationId xmlns:a16="http://schemas.microsoft.com/office/drawing/2014/main" id="{B4434DD6-50E1-4F89-A9F2-6D2BACF27B96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0" name="Oval 179" hidden="1">
                <a:extLst>
                  <a:ext uri="{FF2B5EF4-FFF2-40B4-BE49-F238E27FC236}">
                    <a16:creationId xmlns:a16="http://schemas.microsoft.com/office/drawing/2014/main" id="{9AF478D9-3777-4F1C-994E-218C538807F2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Arc 180" hidden="1">
                <a:extLst>
                  <a:ext uri="{FF2B5EF4-FFF2-40B4-BE49-F238E27FC236}">
                    <a16:creationId xmlns:a16="http://schemas.microsoft.com/office/drawing/2014/main" id="{7A707385-F7F2-4DB8-BE7A-771F4DEC8B5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7" name="MoonLegend5" hidden="1">
              <a:extLst>
                <a:ext uri="{FF2B5EF4-FFF2-40B4-BE49-F238E27FC236}">
                  <a16:creationId xmlns:a16="http://schemas.microsoft.com/office/drawing/2014/main" id="{AE4F53D1-1360-4959-8576-1E3749B4CF45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8" name="Oval 167" hidden="1">
                <a:extLst>
                  <a:ext uri="{FF2B5EF4-FFF2-40B4-BE49-F238E27FC236}">
                    <a16:creationId xmlns:a16="http://schemas.microsoft.com/office/drawing/2014/main" id="{F4C4CBD0-FE65-4B5E-809B-56FC380F079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Arc 178" hidden="1">
                <a:extLst>
                  <a:ext uri="{FF2B5EF4-FFF2-40B4-BE49-F238E27FC236}">
                    <a16:creationId xmlns:a16="http://schemas.microsoft.com/office/drawing/2014/main" id="{C003874A-3DD1-478C-962E-B27662E7DD8E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89" name="LegendBoxes" hidden="1">
            <a:extLst>
              <a:ext uri="{FF2B5EF4-FFF2-40B4-BE49-F238E27FC236}">
                <a16:creationId xmlns:a16="http://schemas.microsoft.com/office/drawing/2014/main" id="{0F702F12-F30B-4DC1-87CC-3CFFBC93655D}"/>
              </a:ext>
            </a:extLst>
          </p:cNvPr>
          <p:cNvGrpSpPr/>
          <p:nvPr/>
        </p:nvGrpSpPr>
        <p:grpSpPr>
          <a:xfrm>
            <a:off x="10714801" y="4509049"/>
            <a:ext cx="922463" cy="1717282"/>
            <a:chOff x="10652400" y="4322824"/>
            <a:chExt cx="922463" cy="1717282"/>
          </a:xfrm>
        </p:grpSpPr>
        <p:sp>
          <p:nvSpPr>
            <p:cNvPr id="190" name="RectangleLegend1" hidden="1">
              <a:extLst>
                <a:ext uri="{FF2B5EF4-FFF2-40B4-BE49-F238E27FC236}">
                  <a16:creationId xmlns:a16="http://schemas.microsoft.com/office/drawing/2014/main" id="{A751A1DB-D56A-41FF-856A-DD281C181338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2" hidden="1">
              <a:extLst>
                <a:ext uri="{FF2B5EF4-FFF2-40B4-BE49-F238E27FC236}">
                  <a16:creationId xmlns:a16="http://schemas.microsoft.com/office/drawing/2014/main" id="{4EB469CA-1B8B-4217-87B1-B19FCAD2AF2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3" hidden="1">
              <a:extLst>
                <a:ext uri="{FF2B5EF4-FFF2-40B4-BE49-F238E27FC236}">
                  <a16:creationId xmlns:a16="http://schemas.microsoft.com/office/drawing/2014/main" id="{D579E0B6-9774-498D-8315-935CCEED7629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RectangleLegend4" hidden="1">
              <a:extLst>
                <a:ext uri="{FF2B5EF4-FFF2-40B4-BE49-F238E27FC236}">
                  <a16:creationId xmlns:a16="http://schemas.microsoft.com/office/drawing/2014/main" id="{CCFEA8A6-B8EE-407D-8D44-466176F450A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4" name="RectangleLegend5" hidden="1">
              <a:extLst>
                <a:ext uri="{FF2B5EF4-FFF2-40B4-BE49-F238E27FC236}">
                  <a16:creationId xmlns:a16="http://schemas.microsoft.com/office/drawing/2014/main" id="{C2FA7295-864A-4FFC-AB9E-937F2D189A8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5" name="Legend1" hidden="1">
              <a:extLst>
                <a:ext uri="{FF2B5EF4-FFF2-40B4-BE49-F238E27FC236}">
                  <a16:creationId xmlns:a16="http://schemas.microsoft.com/office/drawing/2014/main" id="{EFFE993C-166C-40FA-9D69-D6EFE4959B52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2" hidden="1">
              <a:extLst>
                <a:ext uri="{FF2B5EF4-FFF2-40B4-BE49-F238E27FC236}">
                  <a16:creationId xmlns:a16="http://schemas.microsoft.com/office/drawing/2014/main" id="{B607CDD0-EFE1-45F6-B02D-3F8CC148FC89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3" hidden="1">
              <a:extLst>
                <a:ext uri="{FF2B5EF4-FFF2-40B4-BE49-F238E27FC236}">
                  <a16:creationId xmlns:a16="http://schemas.microsoft.com/office/drawing/2014/main" id="{AA782D62-1188-4F09-8156-4B0D602857E1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7" name="Legend4" hidden="1">
              <a:extLst>
                <a:ext uri="{FF2B5EF4-FFF2-40B4-BE49-F238E27FC236}">
                  <a16:creationId xmlns:a16="http://schemas.microsoft.com/office/drawing/2014/main" id="{BC4AECB9-785E-46A6-B105-E5C831A403F7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8" name="Legend5" hidden="1">
              <a:extLst>
                <a:ext uri="{FF2B5EF4-FFF2-40B4-BE49-F238E27FC236}">
                  <a16:creationId xmlns:a16="http://schemas.microsoft.com/office/drawing/2014/main" id="{CF6EFF7F-8114-414D-8779-3BB4B839C8DB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DAFB9FB4-A985-515A-D213-F7A8D80C8EEA}"/>
              </a:ext>
            </a:extLst>
          </p:cNvPr>
          <p:cNvSpPr txBox="1"/>
          <p:nvPr userDrawn="1"/>
        </p:nvSpPr>
        <p:spPr>
          <a:xfrm>
            <a:off x="554736" y="6477854"/>
            <a:ext cx="303530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defTabSz="457200" eaLnBrk="1" latinLnBrk="0" hangingPunct="1">
              <a:defRPr sz="850" spc="-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 eaLnBrk="1" latinLnBrk="0" hangingPunct="1">
              <a:defRPr sz="1800">
                <a:latin typeface="+mn-lt"/>
                <a:cs typeface="+mn-cs"/>
              </a:defRPr>
            </a:lvl2pPr>
            <a:lvl3pPr defTabSz="457200" eaLnBrk="1" latinLnBrk="0" hangingPunct="1">
              <a:defRPr sz="1800">
                <a:latin typeface="+mn-lt"/>
                <a:cs typeface="+mn-cs"/>
              </a:defRPr>
            </a:lvl3pPr>
            <a:lvl4pPr defTabSz="457200" eaLnBrk="1" latinLnBrk="0" hangingPunct="1">
              <a:defRPr sz="1800">
                <a:latin typeface="+mn-lt"/>
                <a:cs typeface="+mn-cs"/>
              </a:defRPr>
            </a:lvl4pPr>
            <a:lvl5pPr defTabSz="457200" eaLnBrk="1" latinLnBrk="0" hangingPunct="1">
              <a:defRPr sz="1800">
                <a:latin typeface="+mn-lt"/>
                <a:cs typeface="+mn-cs"/>
              </a:defRPr>
            </a:lvl5pPr>
            <a:lvl6pPr defTabSz="457200">
              <a:defRPr sz="1800">
                <a:latin typeface="+mn-lt"/>
                <a:cs typeface="+mn-cs"/>
              </a:defRPr>
            </a:lvl6pPr>
            <a:lvl7pPr defTabSz="457200">
              <a:defRPr sz="1800">
                <a:latin typeface="+mn-lt"/>
                <a:cs typeface="+mn-cs"/>
              </a:defRPr>
            </a:lvl7pPr>
            <a:lvl8pPr defTabSz="457200">
              <a:defRPr sz="1800">
                <a:latin typeface="+mn-lt"/>
                <a:cs typeface="+mn-cs"/>
              </a:defRPr>
            </a:lvl8pPr>
            <a:lvl9pPr defTabSz="457200">
              <a:defRPr sz="1800">
                <a:latin typeface="+mn-lt"/>
                <a:cs typeface="+mn-cs"/>
              </a:defRPr>
            </a:lvl9pPr>
          </a:lstStyle>
          <a:p>
            <a:pPr lvl="0" algn="l"/>
            <a:r>
              <a:rPr lang="en-US" sz="900" b="1" i="0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 </a:t>
            </a:r>
            <a:r>
              <a:rPr lang="en-US" sz="900" b="1" i="0" err="1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aunihera</a:t>
            </a:r>
            <a:r>
              <a:rPr lang="en-US" sz="900" b="1" i="0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 </a:t>
            </a:r>
            <a:r>
              <a:rPr lang="en-US" sz="900" b="1" i="0" err="1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apaioea</a:t>
            </a:r>
            <a:r>
              <a:rPr lang="en-US" sz="900" b="1" i="0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</a:t>
            </a:r>
            <a:r>
              <a:rPr lang="en-US" sz="900" b="0" i="0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| Palmerston North City Counci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D85E728-5486-ABDF-D841-CFDFCA0E0AEA}"/>
              </a:ext>
            </a:extLst>
          </p:cNvPr>
          <p:cNvGrpSpPr/>
          <p:nvPr userDrawn="1"/>
        </p:nvGrpSpPr>
        <p:grpSpPr>
          <a:xfrm>
            <a:off x="10685165" y="0"/>
            <a:ext cx="1113699" cy="1294321"/>
            <a:chOff x="10685165" y="0"/>
            <a:chExt cx="1113699" cy="1294321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75029CA-C7F8-9D7D-D0AF-9A7E3B218588}"/>
                </a:ext>
              </a:extLst>
            </p:cNvPr>
            <p:cNvSpPr/>
            <p:nvPr userDrawn="1"/>
          </p:nvSpPr>
          <p:spPr>
            <a:xfrm>
              <a:off x="10685165" y="0"/>
              <a:ext cx="1113699" cy="1294321"/>
            </a:xfrm>
            <a:custGeom>
              <a:avLst/>
              <a:gdLst>
                <a:gd name="connsiteX0" fmla="*/ 0 w 1113699"/>
                <a:gd name="connsiteY0" fmla="*/ 0 h 1294321"/>
                <a:gd name="connsiteX1" fmla="*/ 1113699 w 1113699"/>
                <a:gd name="connsiteY1" fmla="*/ 0 h 1294321"/>
                <a:gd name="connsiteX2" fmla="*/ 1113699 w 1113699"/>
                <a:gd name="connsiteY2" fmla="*/ 1108701 h 1294321"/>
                <a:gd name="connsiteX3" fmla="*/ 928079 w 1113699"/>
                <a:gd name="connsiteY3" fmla="*/ 1294321 h 1294321"/>
                <a:gd name="connsiteX4" fmla="*/ 185620 w 1113699"/>
                <a:gd name="connsiteY4" fmla="*/ 1294321 h 1294321"/>
                <a:gd name="connsiteX5" fmla="*/ 0 w 1113699"/>
                <a:gd name="connsiteY5" fmla="*/ 1108701 h 1294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13699" h="1294321">
                  <a:moveTo>
                    <a:pt x="0" y="0"/>
                  </a:moveTo>
                  <a:lnTo>
                    <a:pt x="1113699" y="0"/>
                  </a:lnTo>
                  <a:lnTo>
                    <a:pt x="1113699" y="1108701"/>
                  </a:lnTo>
                  <a:cubicBezTo>
                    <a:pt x="1113699" y="1211216"/>
                    <a:pt x="1030594" y="1294321"/>
                    <a:pt x="928079" y="1294321"/>
                  </a:cubicBezTo>
                  <a:lnTo>
                    <a:pt x="185620" y="1294321"/>
                  </a:lnTo>
                  <a:cubicBezTo>
                    <a:pt x="83105" y="1294321"/>
                    <a:pt x="0" y="1211216"/>
                    <a:pt x="0" y="1108701"/>
                  </a:cubicBezTo>
                  <a:close/>
                </a:path>
              </a:pathLst>
            </a:custGeom>
            <a:solidFill>
              <a:schemeClr val="accent1"/>
            </a:solidFill>
            <a:ln w="6350" cap="sq">
              <a:noFill/>
              <a:miter lim="800000"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pic>
          <p:nvPicPr>
            <p:cNvPr id="10" name="Picture 9" descr="Logo&#10;&#10;Description automatically generated">
              <a:extLst>
                <a:ext uri="{FF2B5EF4-FFF2-40B4-BE49-F238E27FC236}">
                  <a16:creationId xmlns:a16="http://schemas.microsoft.com/office/drawing/2014/main" id="{50D9DCF3-09D3-F374-A6A1-8D35C03102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2"/>
            <a:stretch>
              <a:fillRect/>
            </a:stretch>
          </p:blipFill>
          <p:spPr>
            <a:xfrm>
              <a:off x="10899522" y="220321"/>
              <a:ext cx="684986" cy="8869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3610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1" r:id="rId2"/>
    <p:sldLayoutId id="2147483683" r:id="rId3"/>
    <p:sldLayoutId id="2147483680" r:id="rId4"/>
    <p:sldLayoutId id="2147483664" r:id="rId5"/>
    <p:sldLayoutId id="2147483703" r:id="rId6"/>
    <p:sldLayoutId id="2147483665" r:id="rId7"/>
    <p:sldLayoutId id="2147483666" r:id="rId8"/>
    <p:sldLayoutId id="2147483667" r:id="rId9"/>
    <p:sldLayoutId id="2147483679" r:id="rId10"/>
    <p:sldLayoutId id="2147483678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200" b="1" i="0" kern="1200" spc="0" baseline="0" dirty="0">
          <a:ln w="6350" cap="flat">
            <a:noFill/>
            <a:miter lim="800000"/>
          </a:ln>
          <a:solidFill>
            <a:srgbClr val="2D2D2D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2000" kern="1200" dirty="0">
          <a:solidFill>
            <a:srgbClr val="2D2D2D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2000" kern="1200" dirty="0">
          <a:solidFill>
            <a:srgbClr val="2D2D2D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2000" kern="1200" dirty="0">
          <a:solidFill>
            <a:srgbClr val="2D2D2D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2000" kern="1200" dirty="0">
          <a:solidFill>
            <a:srgbClr val="2D2D2D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2000" kern="1200" dirty="0">
          <a:solidFill>
            <a:srgbClr val="2D2D2D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32654D5-CBF9-42AF-BE50-2507FED0C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391B49-6A9D-47F7-A7F2-926976242A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AF3249-7F46-4BBE-9F28-DA542AFAEFD2}"/>
              </a:ext>
            </a:extLst>
          </p:cNvPr>
          <p:cNvSpPr txBox="1"/>
          <p:nvPr userDrawn="1"/>
        </p:nvSpPr>
        <p:spPr>
          <a:xfrm>
            <a:off x="838200" y="6492875"/>
            <a:ext cx="303530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0" defTabSz="457200" eaLnBrk="1" latinLnBrk="0" hangingPunct="1">
              <a:defRPr sz="850" spc="-2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 eaLnBrk="1" latinLnBrk="0" hangingPunct="1">
              <a:defRPr sz="1800">
                <a:latin typeface="+mn-lt"/>
                <a:cs typeface="+mn-cs"/>
              </a:defRPr>
            </a:lvl2pPr>
            <a:lvl3pPr defTabSz="457200" eaLnBrk="1" latinLnBrk="0" hangingPunct="1">
              <a:defRPr sz="1800">
                <a:latin typeface="+mn-lt"/>
                <a:cs typeface="+mn-cs"/>
              </a:defRPr>
            </a:lvl3pPr>
            <a:lvl4pPr defTabSz="457200" eaLnBrk="1" latinLnBrk="0" hangingPunct="1">
              <a:defRPr sz="1800">
                <a:latin typeface="+mn-lt"/>
                <a:cs typeface="+mn-cs"/>
              </a:defRPr>
            </a:lvl4pPr>
            <a:lvl5pPr defTabSz="457200" eaLnBrk="1" latinLnBrk="0" hangingPunct="1">
              <a:defRPr sz="1800">
                <a:latin typeface="+mn-lt"/>
                <a:cs typeface="+mn-cs"/>
              </a:defRPr>
            </a:lvl5pPr>
            <a:lvl6pPr defTabSz="457200">
              <a:defRPr sz="1800">
                <a:latin typeface="+mn-lt"/>
                <a:cs typeface="+mn-cs"/>
              </a:defRPr>
            </a:lvl6pPr>
            <a:lvl7pPr defTabSz="457200">
              <a:defRPr sz="1800">
                <a:latin typeface="+mn-lt"/>
                <a:cs typeface="+mn-cs"/>
              </a:defRPr>
            </a:lvl7pPr>
            <a:lvl8pPr defTabSz="457200">
              <a:defRPr sz="1800">
                <a:latin typeface="+mn-lt"/>
                <a:cs typeface="+mn-cs"/>
              </a:defRPr>
            </a:lvl8pPr>
            <a:lvl9pPr defTabSz="457200">
              <a:defRPr sz="1800">
                <a:latin typeface="+mn-lt"/>
                <a:cs typeface="+mn-cs"/>
              </a:defRPr>
            </a:lvl9pPr>
          </a:lstStyle>
          <a:p>
            <a:pPr lvl="0" algn="l"/>
            <a:r>
              <a:rPr lang="en-US" sz="900" b="1" i="0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 </a:t>
            </a:r>
            <a:r>
              <a:rPr lang="en-US" sz="900" b="1" i="0" err="1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aunihera</a:t>
            </a:r>
            <a:r>
              <a:rPr lang="en-US" sz="900" b="1" i="0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o </a:t>
            </a:r>
            <a:r>
              <a:rPr lang="en-US" sz="900" b="1" i="0" err="1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apaioea</a:t>
            </a:r>
            <a:r>
              <a:rPr lang="en-US" sz="900" b="1" i="0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</a:t>
            </a:r>
            <a:r>
              <a:rPr lang="en-US" sz="900" b="0" i="0">
                <a:solidFill>
                  <a:srgbClr val="2D2D2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| Palmerston North City Council</a:t>
            </a:r>
          </a:p>
        </p:txBody>
      </p:sp>
    </p:spTree>
    <p:extLst>
      <p:ext uri="{BB962C8B-B14F-4D97-AF65-F5344CB8AC3E}">
        <p14:creationId xmlns:p14="http://schemas.microsoft.com/office/powerpoint/2010/main" val="3139521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7D3448-2231-4FBF-BA4D-D219B6570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>
                <a:latin typeface="Calibri"/>
                <a:cs typeface="Calibri"/>
              </a:rPr>
              <a:t>Parking Framework Workshop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2B8BE6-437A-46D4-A738-86B565FE8C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r>
              <a:rPr lang="en-NZ">
                <a:latin typeface="Calibri"/>
                <a:cs typeface="Calibri"/>
              </a:rPr>
              <a:t>30 August 2023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322982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11FCA-EC4D-40E7-9950-89C483228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b="1"/>
              <a:t>Engaging with our community </a:t>
            </a:r>
            <a:endParaRPr lang="en-NZ" sz="2800" b="1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56081714-C172-4C67-BE9D-FA7F6145EE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0197471"/>
              </p:ext>
            </p:extLst>
          </p:nvPr>
        </p:nvGraphicFramePr>
        <p:xfrm>
          <a:off x="554737" y="1510302"/>
          <a:ext cx="11178351" cy="350074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664449">
                  <a:extLst>
                    <a:ext uri="{9D8B030D-6E8A-4147-A177-3AD203B41FA5}">
                      <a16:colId xmlns:a16="http://schemas.microsoft.com/office/drawing/2014/main" val="2990108915"/>
                    </a:ext>
                  </a:extLst>
                </a:gridCol>
                <a:gridCol w="3054917">
                  <a:extLst>
                    <a:ext uri="{9D8B030D-6E8A-4147-A177-3AD203B41FA5}">
                      <a16:colId xmlns:a16="http://schemas.microsoft.com/office/drawing/2014/main" val="1364849571"/>
                    </a:ext>
                  </a:extLst>
                </a:gridCol>
                <a:gridCol w="4458985">
                  <a:extLst>
                    <a:ext uri="{9D8B030D-6E8A-4147-A177-3AD203B41FA5}">
                      <a16:colId xmlns:a16="http://schemas.microsoft.com/office/drawing/2014/main" val="358096280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Option 1- direct engagement</a:t>
                      </a:r>
                      <a:endParaRPr lang="en-NZ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sz="1600"/>
                        <a:t>Option 2- Consu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sz="1600" dirty="0"/>
                        <a:t>Option 3 – Consult as a part of the LT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1814404"/>
                  </a:ext>
                </a:extLst>
              </a:tr>
              <a:tr h="5527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1200">
                          <a:effectLst/>
                        </a:rPr>
                        <a:t>Workshop with elected members</a:t>
                      </a:r>
                    </a:p>
                    <a:p>
                      <a:endParaRPr lang="en-NZ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1200">
                          <a:effectLst/>
                        </a:rPr>
                        <a:t>Workshop with elected members</a:t>
                      </a:r>
                    </a:p>
                    <a:p>
                      <a:endParaRPr lang="en-NZ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1200" dirty="0">
                          <a:effectLst/>
                        </a:rPr>
                        <a:t>Same As option 2</a:t>
                      </a:r>
                    </a:p>
                    <a:p>
                      <a:endParaRPr lang="en-NZ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057644"/>
                  </a:ext>
                </a:extLst>
              </a:tr>
              <a:tr h="552793">
                <a:tc>
                  <a:txBody>
                    <a:bodyPr/>
                    <a:lstStyle/>
                    <a:p>
                      <a:r>
                        <a:rPr lang="en-NZ" sz="1200" dirty="0"/>
                        <a:t>1-1 Engagement with key stakeholders</a:t>
                      </a:r>
                    </a:p>
                    <a:p>
                      <a:endParaRPr lang="en-N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sz="1200" dirty="0"/>
                        <a:t>1-1 Engagement with key stakehol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1200" dirty="0"/>
                        <a:t>LTP is the consultation vehicle</a:t>
                      </a:r>
                    </a:p>
                    <a:p>
                      <a:endParaRPr lang="en-NZ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4181190"/>
                  </a:ext>
                </a:extLst>
              </a:tr>
              <a:tr h="1341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1200">
                          <a:effectLst/>
                        </a:rPr>
                        <a:t>Report parking framework back to Council for approval </a:t>
                      </a:r>
                    </a:p>
                    <a:p>
                      <a:endParaRPr lang="en-NZ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sz="1200" dirty="0"/>
                        <a:t>Draft Policy Framework to Committ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Z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2479870"/>
                  </a:ext>
                </a:extLst>
              </a:tr>
              <a:tr h="7186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1200">
                          <a:effectLst/>
                        </a:rPr>
                        <a:t>This would be a faster process but wouldn’t engage the wider community. </a:t>
                      </a:r>
                    </a:p>
                    <a:p>
                      <a:endParaRPr lang="en-NZ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sz="1200"/>
                        <a:t>Formal Consultation including hearings and then a final deci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Z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899594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2F3643B-0A61-4DB2-B5D5-D470F90E023D}"/>
              </a:ext>
            </a:extLst>
          </p:cNvPr>
          <p:cNvSpPr txBox="1"/>
          <p:nvPr/>
        </p:nvSpPr>
        <p:spPr>
          <a:xfrm>
            <a:off x="554737" y="5432949"/>
            <a:ext cx="6094520" cy="36933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b="1" dirty="0"/>
              <a:t>Recommendation- Option 3- Consult as a part of the LTP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6378676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69D20F8-BD34-4467-BBD2-C2D64C2D041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4" y="1429429"/>
            <a:ext cx="11080054" cy="1923604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Provided by Waka Kotahi, so no cost to council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Independent experts talking about parking drawing on experience from other cities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/>
              <a:t>Could host a workshop as a part of the engagement/consultation process.</a:t>
            </a:r>
          </a:p>
          <a:p>
            <a:pPr>
              <a:buNone/>
            </a:pPr>
            <a:endParaRPr lang="en-NZ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8A1DFB-2CEE-468C-B1B2-BE77365CE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rking Workshop opportunity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14688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600B4EC-8F1C-429A-816F-BE8093097C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4" y="1429429"/>
            <a:ext cx="11080054" cy="3000821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342900" indent="-342900">
              <a:buFont typeface="Arial" panose="020B0502040204020203" pitchFamily="34" charset="0"/>
              <a:buChar char="•"/>
            </a:pPr>
            <a:r>
              <a:rPr lang="en-NZ">
                <a:latin typeface="Calibri"/>
                <a:cs typeface="Calibri"/>
              </a:rPr>
              <a:t>Follow up from Community Committee 9 August</a:t>
            </a:r>
          </a:p>
          <a:p>
            <a:pPr marL="342900" indent="-342900">
              <a:buFont typeface="Arial" panose="020B0502040204020203" pitchFamily="34" charset="0"/>
              <a:buChar char="•"/>
            </a:pPr>
            <a:r>
              <a:rPr lang="en-NZ">
                <a:latin typeface="Calibri"/>
                <a:cs typeface="Calibri"/>
              </a:rPr>
              <a:t>Why do we need a parking framework</a:t>
            </a:r>
          </a:p>
          <a:p>
            <a:pPr marL="342900" indent="-342900">
              <a:buFont typeface="Arial" panose="020B0502040204020203" pitchFamily="34" charset="0"/>
              <a:buChar char="•"/>
            </a:pPr>
            <a:r>
              <a:rPr lang="en-NZ">
                <a:latin typeface="Calibri"/>
                <a:cs typeface="Calibri"/>
              </a:rPr>
              <a:t>Supporting Projects</a:t>
            </a:r>
            <a:endParaRPr lang="en-US"/>
          </a:p>
          <a:p>
            <a:pPr marL="342900" indent="-342900">
              <a:buFont typeface="Arial" panose="020B0502040204020203" pitchFamily="34" charset="0"/>
              <a:buChar char="•"/>
            </a:pPr>
            <a:r>
              <a:rPr lang="en-NZ">
                <a:latin typeface="Calibri"/>
                <a:cs typeface="Calibri"/>
              </a:rPr>
              <a:t>What's been done to date</a:t>
            </a:r>
            <a:endParaRPr lang="en-NZ"/>
          </a:p>
          <a:p>
            <a:pPr marL="342900" indent="-342900">
              <a:buFont typeface="Arial" panose="020B0502040204020203" pitchFamily="34" charset="0"/>
              <a:buChar char="•"/>
            </a:pPr>
            <a:r>
              <a:rPr lang="en-NZ">
                <a:latin typeface="Calibri"/>
                <a:cs typeface="Calibri"/>
              </a:rPr>
              <a:t>Engagement or Consultation</a:t>
            </a:r>
            <a:endParaRPr lang="en-NZ"/>
          </a:p>
          <a:p>
            <a:pPr marL="342900" indent="-342900">
              <a:buFont typeface="Arial" panose="020B0502040204020203" pitchFamily="34" charset="0"/>
              <a:buChar char="•"/>
            </a:pPr>
            <a:r>
              <a:rPr lang="en-NZ">
                <a:latin typeface="Calibri"/>
                <a:cs typeface="Calibri"/>
              </a:rPr>
              <a:t>Parking workshop opportunity</a:t>
            </a:r>
          </a:p>
          <a:p>
            <a:pPr marL="342900" indent="-342900">
              <a:buFont typeface="Arial" panose="020B0502040204020203" pitchFamily="34" charset="0"/>
              <a:buChar char="•"/>
            </a:pPr>
            <a:endParaRPr lang="en-NZ"/>
          </a:p>
          <a:p>
            <a:pPr>
              <a:buNone/>
            </a:pPr>
            <a:endParaRPr lang="en-NZ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D3285B-3E59-476D-8F1E-539B72BDB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>
                <a:latin typeface="Calibri"/>
                <a:cs typeface="Calibri"/>
              </a:rPr>
              <a:t>Workshop Outlin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957796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F3A645A-0647-43EE-921A-966BC3E6C48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4" y="1429429"/>
            <a:ext cx="11080054" cy="377026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Ministry of Social Development SuperGold card/disability allowance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Current mobility permit data*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Timing of SGC extended hours implemen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Council’s financial impact</a:t>
            </a:r>
          </a:p>
          <a:p>
            <a:pPr>
              <a:buNone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E348BE-2845-4C7F-A1E3-55E2E9F703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unity Committee 9 August Follow up</a:t>
            </a:r>
            <a:endParaRPr lang="en-NZ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822D1EC9-1B91-4E7E-B7E2-852A63126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3402079"/>
              </p:ext>
            </p:extLst>
          </p:nvPr>
        </p:nvGraphicFramePr>
        <p:xfrm>
          <a:off x="554734" y="1853816"/>
          <a:ext cx="8127999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904180324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4290045250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32866195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Super Gold no disability allowance</a:t>
                      </a:r>
                      <a:endParaRPr lang="en-N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SuperGold with disability allowance</a:t>
                      </a:r>
                      <a:endParaRPr lang="en-N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Total Disability allowance</a:t>
                      </a:r>
                      <a:endParaRPr lang="en-N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4085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11,853</a:t>
                      </a:r>
                      <a:endParaRPr lang="en-N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,484</a:t>
                      </a:r>
                      <a:endParaRPr lang="en-N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,740</a:t>
                      </a:r>
                      <a:endParaRPr lang="en-N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4155343"/>
                  </a:ext>
                </a:extLst>
              </a:tr>
            </a:tbl>
          </a:graphicData>
        </a:graphic>
      </p:graphicFrame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AEDABA5-8703-4940-9628-08173D7825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0957303"/>
              </p:ext>
            </p:extLst>
          </p:nvPr>
        </p:nvGraphicFramePr>
        <p:xfrm>
          <a:off x="554734" y="3325657"/>
          <a:ext cx="8127999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619186953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569292476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29817395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Total Mobility Permit</a:t>
                      </a:r>
                      <a:endParaRPr lang="en-N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Under 59</a:t>
                      </a:r>
                      <a:endParaRPr lang="en-N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Over 60</a:t>
                      </a:r>
                      <a:endParaRPr lang="en-N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5523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3165</a:t>
                      </a:r>
                      <a:endParaRPr lang="en-N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670</a:t>
                      </a:r>
                      <a:endParaRPr lang="en-N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495</a:t>
                      </a:r>
                      <a:endParaRPr lang="en-N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4962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1146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3F086-351C-4342-BE90-8D070D61C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do we need a parking framework?</a:t>
            </a:r>
            <a:endParaRPr lang="en-N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A0A8D9-F611-4045-9505-44FC5C0E04E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arking is inextricably linked to how Palmerston North’s transport system operates, and there are many longstanding and growing issues that require attention.</a:t>
            </a:r>
            <a:endParaRPr lang="en-N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F2F44A-2915-4E51-8FF0-6DA78203FD9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662113"/>
            <a:ext cx="11151742" cy="33855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Fewer people are walking, cycling and catching the b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Our road safety record is getting wor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Transport is the greatest contributor to carbon emission in the c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Our roads are deteriora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Car ownership is increas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Car dependency is impacting our heal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Demand for parking is likely to increase while supply likely decre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7781099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E596E-C22D-4860-B475-9D1F97F54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ere the parking Framework fits</a:t>
            </a:r>
            <a:endParaRPr lang="en-NZ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EAC13A8-A41B-48B7-B00F-BA5DCD28BABA}"/>
              </a:ext>
            </a:extLst>
          </p:cNvPr>
          <p:cNvGrpSpPr/>
          <p:nvPr/>
        </p:nvGrpSpPr>
        <p:grpSpPr>
          <a:xfrm>
            <a:off x="1052530" y="1866458"/>
            <a:ext cx="8842849" cy="3258715"/>
            <a:chOff x="1411455" y="1304699"/>
            <a:chExt cx="7230843" cy="2577578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0575C10-EEB1-4454-BC05-0EEAB5492555}"/>
                </a:ext>
              </a:extLst>
            </p:cNvPr>
            <p:cNvSpPr txBox="1"/>
            <p:nvPr/>
          </p:nvSpPr>
          <p:spPr>
            <a:xfrm>
              <a:off x="4742569" y="2657263"/>
              <a:ext cx="1500555" cy="511235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NZ" b="1"/>
                <a:t>Parking Framework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7AE2158-0B9A-4E02-925C-8EA6F0CBF7E0}"/>
                </a:ext>
              </a:extLst>
            </p:cNvPr>
            <p:cNvSpPr txBox="1"/>
            <p:nvPr/>
          </p:nvSpPr>
          <p:spPr>
            <a:xfrm>
              <a:off x="7141743" y="2132448"/>
              <a:ext cx="1500555" cy="657302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NZ" sz="1200"/>
                <a:t>Parking Management Plans</a:t>
              </a:r>
            </a:p>
            <a:p>
              <a:pPr algn="ctr"/>
              <a:r>
                <a:rPr lang="en-NZ" sz="1200"/>
                <a:t>(location specific operations)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BACEE8E-91CC-4414-9C8D-95A6B786F9D6}"/>
                </a:ext>
              </a:extLst>
            </p:cNvPr>
            <p:cNvSpPr txBox="1"/>
            <p:nvPr/>
          </p:nvSpPr>
          <p:spPr>
            <a:xfrm>
              <a:off x="7141743" y="3329619"/>
              <a:ext cx="1500555" cy="365168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NZ" sz="1200"/>
                <a:t>Traffic &amp; Parking Bylaw</a:t>
              </a:r>
            </a:p>
            <a:p>
              <a:pPr algn="ctr"/>
              <a:r>
                <a:rPr lang="en-NZ" sz="1200"/>
                <a:t>(legal enforcement)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942312F-A9D4-48B1-B2B7-4227ED00F4D3}"/>
                </a:ext>
              </a:extLst>
            </p:cNvPr>
            <p:cNvSpPr txBox="1"/>
            <p:nvPr/>
          </p:nvSpPr>
          <p:spPr>
            <a:xfrm>
              <a:off x="3354309" y="2012936"/>
              <a:ext cx="912643" cy="461665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NZ" sz="1200"/>
                <a:t>National Document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C80C7E8-2BC7-4BD8-A3BA-62BAF3BB4374}"/>
                </a:ext>
              </a:extLst>
            </p:cNvPr>
            <p:cNvSpPr txBox="1"/>
            <p:nvPr/>
          </p:nvSpPr>
          <p:spPr>
            <a:xfrm>
              <a:off x="1411455" y="3402651"/>
              <a:ext cx="1500555" cy="219101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NZ" sz="1200"/>
                <a:t>Long Term Plan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DBDC19D-D67D-4157-A319-193154173EF5}"/>
                </a:ext>
              </a:extLst>
            </p:cNvPr>
            <p:cNvSpPr txBox="1"/>
            <p:nvPr/>
          </p:nvSpPr>
          <p:spPr>
            <a:xfrm>
              <a:off x="1411457" y="1304699"/>
              <a:ext cx="1500555" cy="461665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NZ" sz="1200"/>
                <a:t>Keeping Cities Moving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554527-018E-4D0E-9423-494698BD6AA9}"/>
                </a:ext>
              </a:extLst>
            </p:cNvPr>
            <p:cNvSpPr txBox="1"/>
            <p:nvPr/>
          </p:nvSpPr>
          <p:spPr>
            <a:xfrm>
              <a:off x="1411457" y="1912483"/>
              <a:ext cx="1500555" cy="646331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NZ" sz="1200"/>
                <a:t>Government Policy Statement on Land Transport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50A5013-AB8B-4BB4-8240-466FAAD11CCE}"/>
                </a:ext>
              </a:extLst>
            </p:cNvPr>
            <p:cNvSpPr txBox="1"/>
            <p:nvPr/>
          </p:nvSpPr>
          <p:spPr>
            <a:xfrm>
              <a:off x="1411456" y="2697314"/>
              <a:ext cx="1500555" cy="365168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NZ" sz="1200"/>
                <a:t>National Policy Statement on Urban Development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07A1E0AC-6F81-4C10-B511-670E7863EFDA}"/>
                </a:ext>
              </a:extLst>
            </p:cNvPr>
            <p:cNvCxnSpPr>
              <a:stCxn id="11" idx="3"/>
              <a:endCxn id="9" idx="1"/>
            </p:cNvCxnSpPr>
            <p:nvPr/>
          </p:nvCxnSpPr>
          <p:spPr>
            <a:xfrm>
              <a:off x="2912012" y="1535531"/>
              <a:ext cx="442297" cy="70823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CB2869B9-A94E-4735-817C-4DB5EBAC1FA1}"/>
                </a:ext>
              </a:extLst>
            </p:cNvPr>
            <p:cNvCxnSpPr>
              <a:cxnSpLocks/>
              <a:stCxn id="12" idx="3"/>
              <a:endCxn id="9" idx="1"/>
            </p:cNvCxnSpPr>
            <p:nvPr/>
          </p:nvCxnSpPr>
          <p:spPr>
            <a:xfrm>
              <a:off x="2912012" y="2235649"/>
              <a:ext cx="442297" cy="811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BEFE6CEA-AD4E-4965-ABC4-AAD7DD55969E}"/>
                </a:ext>
              </a:extLst>
            </p:cNvPr>
            <p:cNvCxnSpPr>
              <a:cxnSpLocks/>
              <a:stCxn id="13" idx="3"/>
              <a:endCxn id="9" idx="1"/>
            </p:cNvCxnSpPr>
            <p:nvPr/>
          </p:nvCxnSpPr>
          <p:spPr>
            <a:xfrm flipV="1">
              <a:off x="2912011" y="2243768"/>
              <a:ext cx="442298" cy="63613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892DCCF8-D130-4EBD-A7A6-2CA56C6CE07B}"/>
                </a:ext>
              </a:extLst>
            </p:cNvPr>
            <p:cNvCxnSpPr>
              <a:cxnSpLocks/>
              <a:stCxn id="10" idx="3"/>
              <a:endCxn id="33" idx="1"/>
            </p:cNvCxnSpPr>
            <p:nvPr/>
          </p:nvCxnSpPr>
          <p:spPr>
            <a:xfrm>
              <a:off x="2912010" y="3512201"/>
              <a:ext cx="427459" cy="37007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87B4C7BC-9251-47AA-B1E3-2D5A3AA766E4}"/>
                </a:ext>
              </a:extLst>
            </p:cNvPr>
            <p:cNvCxnSpPr>
              <a:cxnSpLocks/>
              <a:stCxn id="9" idx="3"/>
              <a:endCxn id="6" idx="1"/>
            </p:cNvCxnSpPr>
            <p:nvPr/>
          </p:nvCxnSpPr>
          <p:spPr>
            <a:xfrm>
              <a:off x="4266952" y="2243768"/>
              <a:ext cx="475617" cy="669113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D052A176-A599-4970-8901-EAEF9F9EA868}"/>
                </a:ext>
              </a:extLst>
            </p:cNvPr>
            <p:cNvCxnSpPr>
              <a:cxnSpLocks/>
              <a:stCxn id="6" idx="3"/>
              <a:endCxn id="7" idx="1"/>
            </p:cNvCxnSpPr>
            <p:nvPr/>
          </p:nvCxnSpPr>
          <p:spPr>
            <a:xfrm flipV="1">
              <a:off x="6243124" y="2461099"/>
              <a:ext cx="898619" cy="4517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B97134BA-911D-4E1E-81D4-D140F5590076}"/>
                </a:ext>
              </a:extLst>
            </p:cNvPr>
            <p:cNvCxnSpPr>
              <a:cxnSpLocks/>
              <a:stCxn id="6" idx="3"/>
              <a:endCxn id="8" idx="1"/>
            </p:cNvCxnSpPr>
            <p:nvPr/>
          </p:nvCxnSpPr>
          <p:spPr>
            <a:xfrm>
              <a:off x="6243124" y="2912881"/>
              <a:ext cx="898619" cy="59932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F6B60FF-6440-412B-8DB5-DFA8F44A7FC7}"/>
              </a:ext>
            </a:extLst>
          </p:cNvPr>
          <p:cNvSpPr txBox="1"/>
          <p:nvPr/>
        </p:nvSpPr>
        <p:spPr>
          <a:xfrm>
            <a:off x="3410366" y="4894340"/>
            <a:ext cx="1116103" cy="4616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NZ" sz="1200"/>
              <a:t>PNCC Documents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9C965C6-8C3C-46A8-BD48-427655FFDC26}"/>
              </a:ext>
            </a:extLst>
          </p:cNvPr>
          <p:cNvCxnSpPr>
            <a:cxnSpLocks/>
            <a:stCxn id="33" idx="3"/>
            <a:endCxn id="6" idx="1"/>
          </p:cNvCxnSpPr>
          <p:nvPr/>
        </p:nvCxnSpPr>
        <p:spPr>
          <a:xfrm flipV="1">
            <a:off x="4526469" y="3899609"/>
            <a:ext cx="599796" cy="122556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607CD5E5-7D01-469B-8391-3AAE4035A02D}"/>
              </a:ext>
            </a:extLst>
          </p:cNvPr>
          <p:cNvCxnSpPr>
            <a:cxnSpLocks/>
            <a:stCxn id="42" idx="3"/>
            <a:endCxn id="33" idx="1"/>
          </p:cNvCxnSpPr>
          <p:nvPr/>
        </p:nvCxnSpPr>
        <p:spPr>
          <a:xfrm>
            <a:off x="2887610" y="5073521"/>
            <a:ext cx="522756" cy="516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85C8AA0-980C-4065-A175-2EAF3BA0D3C1}"/>
              </a:ext>
            </a:extLst>
          </p:cNvPr>
          <p:cNvCxnSpPr>
            <a:cxnSpLocks/>
            <a:stCxn id="43" idx="3"/>
            <a:endCxn id="33" idx="1"/>
          </p:cNvCxnSpPr>
          <p:nvPr/>
        </p:nvCxnSpPr>
        <p:spPr>
          <a:xfrm flipV="1">
            <a:off x="2887610" y="5125173"/>
            <a:ext cx="522756" cy="44010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8D8E99FF-B3BD-444C-931D-BB3387046595}"/>
              </a:ext>
            </a:extLst>
          </p:cNvPr>
          <p:cNvSpPr txBox="1"/>
          <p:nvPr/>
        </p:nvSpPr>
        <p:spPr>
          <a:xfrm>
            <a:off x="1052529" y="4935021"/>
            <a:ext cx="1835081" cy="27699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NZ" sz="1200"/>
              <a:t>Transport Pla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4CBB6D2-3BD0-4AFC-A054-A47B786614A2}"/>
              </a:ext>
            </a:extLst>
          </p:cNvPr>
          <p:cNvSpPr txBox="1"/>
          <p:nvPr/>
        </p:nvSpPr>
        <p:spPr>
          <a:xfrm>
            <a:off x="1052529" y="5334441"/>
            <a:ext cx="1835081" cy="4616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NZ" sz="1200"/>
              <a:t>Economic Development Plan</a:t>
            </a:r>
          </a:p>
        </p:txBody>
      </p:sp>
    </p:spTree>
    <p:extLst>
      <p:ext uri="{BB962C8B-B14F-4D97-AF65-F5344CB8AC3E}">
        <p14:creationId xmlns:p14="http://schemas.microsoft.com/office/powerpoint/2010/main" val="3907582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31B042-8F47-48B3-876F-793D928AA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nected Projects</a:t>
            </a:r>
            <a:endParaRPr lang="en-N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9200DE-8843-44E3-AC5E-58A8AD51672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662113"/>
            <a:ext cx="11151742" cy="33855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Speed Management Pla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Transport Cho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Urban cycle networ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City Centre Transformation- Streets for Peop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Horizons new bus networ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Main St Transit Hu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7280865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6C625C4-EE97-434D-A997-B2ED4BD33DD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54735" y="2812869"/>
            <a:ext cx="3496402" cy="3487919"/>
          </a:xfrm>
        </p:spPr>
        <p:txBody>
          <a:bodyPr wrap="square"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Parking Survey (March 2022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Initial stakeholder engagement (September 2022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Working draft development</a:t>
            </a:r>
            <a:endParaRPr lang="en-NZ"/>
          </a:p>
          <a:p>
            <a:endParaRPr lang="en-NZ"/>
          </a:p>
        </p:txBody>
      </p:sp>
      <p:pic>
        <p:nvPicPr>
          <p:cNvPr id="6" name="Picture Placeholder 5" descr="A group of isometric buildings&#10;&#10;Description automatically generated">
            <a:extLst>
              <a:ext uri="{FF2B5EF4-FFF2-40B4-BE49-F238E27FC236}">
                <a16:creationId xmlns:a16="http://schemas.microsoft.com/office/drawing/2014/main" id="{251A06D7-7FB0-4F3E-906C-018D20B6890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4727" r="11181" b="-1"/>
          <a:stretch/>
        </p:blipFill>
        <p:spPr>
          <a:xfrm>
            <a:off x="4348975" y="220320"/>
            <a:ext cx="7627435" cy="6417357"/>
          </a:xfr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876FE7C-ABF5-4B43-9485-4FBBE655F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172031"/>
            <a:ext cx="3496401" cy="307763"/>
          </a:xfrm>
        </p:spPr>
        <p:txBody>
          <a:bodyPr wrap="square"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200"/>
              <a:t>Work to Date</a:t>
            </a:r>
            <a:endParaRPr lang="en-NZ" sz="2200"/>
          </a:p>
        </p:txBody>
      </p:sp>
    </p:spTree>
    <p:extLst>
      <p:ext uri="{BB962C8B-B14F-4D97-AF65-F5344CB8AC3E}">
        <p14:creationId xmlns:p14="http://schemas.microsoft.com/office/powerpoint/2010/main" val="32975625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8A6D6-DBDA-4BFF-ADB2-42CEA87F7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raft Framework</a:t>
            </a:r>
            <a:endParaRPr lang="en-N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26ABCA-29D0-4AFA-9DD0-DB97D628BB1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/>
              <a:t>Challenges</a:t>
            </a:r>
            <a:endParaRPr lang="en-NZ" b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A8D924-FE2E-41E6-AD8E-57A801A4BD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662113"/>
            <a:ext cx="11151742" cy="33855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Managing Supply and Dema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No one size fits a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Current practice does not support equitable acces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Ongoing safety concer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Lack of integration with the wider transport syst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Managing time and pri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Technology and emerging demands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en-US"/>
          </a:p>
          <a:p>
            <a:pPr>
              <a:buNone/>
            </a:pP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42827908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F28FF-FA8C-41AA-8B89-5187AEE7B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raft framework</a:t>
            </a:r>
            <a:endParaRPr lang="en-N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81C854-B442-422B-B61B-0F9296720F7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/>
              <a:t>Principles</a:t>
            </a:r>
            <a:endParaRPr lang="en-NZ" b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B96213-BCAB-4138-A3AF-F3C942D21F4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662113"/>
            <a:ext cx="11151742" cy="300082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Prioritise public space to deliver the highest value to our resid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Ensure parking supply is appropriate to the adjacent u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Prioritise users with the greatest need for park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Equitable pay for the cost of parking provi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Ensure parking management actions are considered as part of an integrated transport syst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Ensure parking supports a quality urban 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Make transparent and evidence-based deci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Provide a high-quality user experience for all parking users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4009353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Palmy Identity Powerpoint">
  <a:themeElements>
    <a:clrScheme name="">
      <a:dk1>
        <a:srgbClr val="2C2C2C"/>
      </a:dk1>
      <a:lt1>
        <a:srgbClr val="F2F3F4"/>
      </a:lt1>
      <a:dk2>
        <a:srgbClr val="FFFFFF"/>
      </a:dk2>
      <a:lt2>
        <a:srgbClr val="FFFFFF"/>
      </a:lt2>
      <a:accent1>
        <a:srgbClr val="5BC500"/>
      </a:accent1>
      <a:accent2>
        <a:srgbClr val="2C2C2C"/>
      </a:accent2>
      <a:accent3>
        <a:srgbClr val="FFD700"/>
      </a:accent3>
      <a:accent4>
        <a:srgbClr val="0085CA"/>
      </a:accent4>
      <a:accent5>
        <a:srgbClr val="D62498"/>
      </a:accent5>
      <a:accent6>
        <a:srgbClr val="FE5000"/>
      </a:accent6>
      <a:hlink>
        <a:srgbClr val="414141"/>
      </a:hlink>
      <a:folHlink>
        <a:srgbClr val="7D7D7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3C3C3C"/>
        </a:dk1>
        <a:lt1>
          <a:srgbClr val="F2F3F4"/>
        </a:lt1>
        <a:dk2>
          <a:srgbClr val="FFFFFF"/>
        </a:dk2>
        <a:lt2>
          <a:srgbClr val="FFFFFF"/>
        </a:lt2>
        <a:accent1>
          <a:srgbClr val="01426A"/>
        </a:accent1>
        <a:accent2>
          <a:srgbClr val="298FC2"/>
        </a:accent2>
        <a:accent3>
          <a:srgbClr val="8DC8E8"/>
        </a:accent3>
        <a:accent4>
          <a:srgbClr val="28724F"/>
        </a:accent4>
        <a:accent5>
          <a:srgbClr val="78BE20"/>
        </a:accent5>
        <a:accent6>
          <a:srgbClr val="768692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76881D"/>
    </a:custClr>
    <a:custClr name="Custom Color7">
      <a:srgbClr val="EFDBB2"/>
    </a:custClr>
    <a:custClr name="Custom Color8">
      <a:srgbClr val="F2F3F4"/>
    </a:custClr>
  </a:custClrLst>
  <a:extLst>
    <a:ext uri="{05A4C25C-085E-4340-85A3-A5531E510DB2}">
      <thm15:themeFamily xmlns:thm15="http://schemas.microsoft.com/office/thememl/2012/main" name="2102 - NZ0324_OFF_TEMPLATE .potx" id="{9FA40450-DCBC-4AAE-8E9F-52D0F3717F23}" vid="{70C07537-A50A-43BD-ACFC-940824ED6773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663E313A834046A7D3F2E48E5C83A6" ma:contentTypeVersion="11" ma:contentTypeDescription="Create a new document." ma:contentTypeScope="" ma:versionID="a91402b14509a15eded68a4c65762e94">
  <xsd:schema xmlns:xsd="http://www.w3.org/2001/XMLSchema" xmlns:xs="http://www.w3.org/2001/XMLSchema" xmlns:p="http://schemas.microsoft.com/office/2006/metadata/properties" xmlns:ns2="3d911819-9875-43c1-bdea-6692ae8b7c27" xmlns:ns3="f180aa17-e129-4623-b4c0-e50b0d2803f8" targetNamespace="http://schemas.microsoft.com/office/2006/metadata/properties" ma:root="true" ma:fieldsID="b1406a252a4a8a93616e8ac5b226825e" ns2:_="" ns3:_="">
    <xsd:import namespace="3d911819-9875-43c1-bdea-6692ae8b7c27"/>
    <xsd:import namespace="f180aa17-e129-4623-b4c0-e50b0d2803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911819-9875-43c1-bdea-6692ae8b7c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80aa17-e129-4623-b4c0-e50b0d2803f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4393C76-478B-4501-82CE-3EE3EAF2EFB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A5996CD-36D7-4C53-91EA-54E6D06FA6D0}">
  <ds:schemaRefs>
    <ds:schemaRef ds:uri="3d911819-9875-43c1-bdea-6692ae8b7c27"/>
    <ds:schemaRef ds:uri="f180aa17-e129-4623-b4c0-e50b0d2803f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F75AD5D-030B-4815-9EA3-029D272C1C38}">
  <ds:schemaRefs>
    <ds:schemaRef ds:uri="3d911819-9875-43c1-bdea-6692ae8b7c27"/>
    <ds:schemaRef ds:uri="f180aa17-e129-4623-b4c0-e50b0d2803f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13</Words>
  <Application>Microsoft Office PowerPoint</Application>
  <PresentationFormat>Widescreen</PresentationFormat>
  <Paragraphs>107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Calibri Light</vt:lpstr>
      <vt:lpstr>Courier New</vt:lpstr>
      <vt:lpstr>Recoleta Alt Bold</vt:lpstr>
      <vt:lpstr>Segoe UI</vt:lpstr>
      <vt:lpstr>Wingdings</vt:lpstr>
      <vt:lpstr>Palmy Identity Powerpoint</vt:lpstr>
      <vt:lpstr>Custom Design</vt:lpstr>
      <vt:lpstr>think-cell Slide</vt:lpstr>
      <vt:lpstr>Parking Framework Workshop</vt:lpstr>
      <vt:lpstr>Workshop Outline</vt:lpstr>
      <vt:lpstr>Community Committee 9 August Follow up</vt:lpstr>
      <vt:lpstr>Why do we need a parking framework?</vt:lpstr>
      <vt:lpstr>Where the parking Framework fits</vt:lpstr>
      <vt:lpstr>Connected Projects</vt:lpstr>
      <vt:lpstr>Work to Date</vt:lpstr>
      <vt:lpstr>Draft Framework</vt:lpstr>
      <vt:lpstr>Draft framework</vt:lpstr>
      <vt:lpstr>Engaging with our community </vt:lpstr>
      <vt:lpstr>Parking Workshop opportunit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heading font Minion Regular</dc:title>
  <dc:creator>Jessica Ballinger</dc:creator>
  <cp:lastModifiedBy>James Miguel</cp:lastModifiedBy>
  <cp:revision>1</cp:revision>
  <cp:lastPrinted>2019-07-30T00:07:28Z</cp:lastPrinted>
  <dcterms:created xsi:type="dcterms:W3CDTF">2019-06-05T03:32:03Z</dcterms:created>
  <dcterms:modified xsi:type="dcterms:W3CDTF">2023-08-25T00:1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663E313A834046A7D3F2E48E5C83A6</vt:lpwstr>
  </property>
  <property fmtid="{D5CDD505-2E9C-101B-9397-08002B2CF9AE}" pid="3" name="MediaServiceImageTags">
    <vt:lpwstr/>
  </property>
</Properties>
</file>